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6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10" r:id="rId5"/>
    <p:sldMasterId id="2147484341" r:id="rId6"/>
    <p:sldMasterId id="2147484366" r:id="rId7"/>
    <p:sldMasterId id="2147484389" r:id="rId8"/>
    <p:sldMasterId id="2147484415" r:id="rId9"/>
    <p:sldMasterId id="2147484436" r:id="rId10"/>
  </p:sldMasterIdLst>
  <p:notesMasterIdLst>
    <p:notesMasterId r:id="rId39"/>
  </p:notesMasterIdLst>
  <p:handoutMasterIdLst>
    <p:handoutMasterId r:id="rId40"/>
  </p:handoutMasterIdLst>
  <p:sldIdLst>
    <p:sldId id="256" r:id="rId11"/>
    <p:sldId id="257" r:id="rId12"/>
    <p:sldId id="258" r:id="rId13"/>
    <p:sldId id="259" r:id="rId14"/>
    <p:sldId id="260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3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1" r:id="rId36"/>
    <p:sldId id="282" r:id="rId37"/>
    <p:sldId id="283" r:id="rId38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2016 Template Light" id="{A073DAE3-B461-442F-A3D3-6642BD875E45}">
          <p14:sldIdLst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FFFFFF"/>
    <a:srgbClr val="BAD80A"/>
    <a:srgbClr val="A80000"/>
    <a:srgbClr val="5C2D91"/>
    <a:srgbClr val="0078D7"/>
    <a:srgbClr val="107C10"/>
    <a:srgbClr val="000000"/>
    <a:srgbClr val="D83B01"/>
    <a:srgbClr val="002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15" autoAdjust="0"/>
  </p:normalViewPr>
  <p:slideViewPr>
    <p:cSldViewPr>
      <p:cViewPr varScale="1">
        <p:scale>
          <a:sx n="104" d="100"/>
          <a:sy n="104" d="100"/>
        </p:scale>
        <p:origin x="612" y="7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1122"/>
    </p:cViewPr>
  </p:sorterViewPr>
  <p:notesViewPr>
    <p:cSldViewPr showGuides="1">
      <p:cViewPr varScale="1">
        <p:scale>
          <a:sx n="81" d="100"/>
          <a:sy n="81" d="100"/>
        </p:scale>
        <p:origin x="3894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0" Type="http://schemas.openxmlformats.org/officeDocument/2006/relationships/slide" Target="slides/slide10.xml"/><Relationship Id="rId41" Type="http://schemas.openxmlformats.org/officeDocument/2006/relationships/commentAuthors" Target="commentAuthor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9/28/2016 11:08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9/28/2016 11:08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rPr>
              <a:t>EMC WORLD 2016</a:t>
            </a:r>
          </a:p>
        </p:txBody>
      </p:sp>
    </p:spTree>
    <p:extLst>
      <p:ext uri="{BB962C8B-B14F-4D97-AF65-F5344CB8AC3E}">
        <p14:creationId xmlns:p14="http://schemas.microsoft.com/office/powerpoint/2010/main" val="2013010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875094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1475" y="687388"/>
            <a:ext cx="6248400" cy="3514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995051" y="0"/>
            <a:ext cx="2994698" cy="457826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898349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830725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968711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389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20477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389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979712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389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399059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C29EE-A8AD-4CE0-9C0B-116E0D4D7533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6712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532615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C29EE-A8AD-4CE0-9C0B-116E0D4D7533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68985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rPr>
              <a:t>EMC WORLD 2016</a:t>
            </a:r>
          </a:p>
        </p:txBody>
      </p:sp>
    </p:spTree>
    <p:extLst>
      <p:ext uri="{BB962C8B-B14F-4D97-AF65-F5344CB8AC3E}">
        <p14:creationId xmlns:p14="http://schemas.microsoft.com/office/powerpoint/2010/main" val="42033031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860957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031672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606118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605248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C29EE-A8AD-4CE0-9C0B-116E0D4D7533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8/2016 11:0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54454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37483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96326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20354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432205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0674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1024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1950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10333038" y="296863"/>
            <a:ext cx="1828800" cy="461665"/>
          </a:xfrm>
        </p:spPr>
        <p:txBody>
          <a:bodyPr/>
          <a:lstStyle>
            <a:lvl1pPr marL="0" indent="0" algn="r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68501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7343" baseline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3796258708"/>
      </p:ext>
    </p:extLst>
  </p:cSld>
  <p:clrMapOvr>
    <a:masterClrMapping/>
  </p:clrMapOvr>
  <p:transition spd="med"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631" y="3069429"/>
            <a:ext cx="4147314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554766"/>
      </p:ext>
    </p:extLst>
  </p:cSld>
  <p:clrMapOvr>
    <a:masterClrMapping/>
  </p:clrMapOvr>
  <p:transition spd="med"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631" y="3069429"/>
            <a:ext cx="4147314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517680"/>
      </p:ext>
    </p:extLst>
  </p:cSld>
  <p:clrMapOvr>
    <a:masterClrMapping/>
  </p:clrMapOvr>
  <p:transition spd="med"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631" y="3069429"/>
            <a:ext cx="4147314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209396"/>
      </p:ext>
    </p:extLst>
  </p:cSld>
  <p:clrMapOvr>
    <a:masterClrMapping/>
  </p:clrMapOvr>
  <p:transition spd="med">
    <p:wipe dir="r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516028" y="310868"/>
            <a:ext cx="11503739" cy="58287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3808" cap="all" baseline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+mj-lt"/>
                <a:cs typeface="Verdan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42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2"/>
            <a:ext cx="10819733" cy="904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657287646"/>
      </p:ext>
    </p:extLst>
  </p:cSld>
  <p:clrMapOvr>
    <a:masterClrMapping/>
  </p:clrMapOvr>
  <p:transition spd="med"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53857" cy="70043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6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1224" b="0" i="0" u="none" strike="noStrike" kern="120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3474295"/>
      </p:ext>
    </p:extLst>
  </p:cSld>
  <p:clrMapOvr>
    <a:masterClrMapping/>
  </p:clrMapOvr>
  <p:transition spd="med"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46501" y="1965643"/>
            <a:ext cx="7899548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65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2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90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651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760254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80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6922650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820140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7394617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73817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025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69426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660139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71802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1430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3568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9226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6412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70676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684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577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53857" cy="70043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i="0" u="none" baseline="0" dirty="0">
                <a:solidFill>
                  <a:schemeClr val="tx2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1224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1224" b="0" kern="1200" dirty="0" err="1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885527"/>
      </p:ext>
    </p:extLst>
  </p:cSld>
  <p:clrMapOvr>
    <a:masterClrMapping/>
  </p:clrMapOvr>
  <p:transition spd="med"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59387" cy="7007411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4" y="394817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73093" y="6386833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6086731"/>
      </p:ext>
    </p:extLst>
  </p:cSld>
  <p:clrMapOvr>
    <a:masterClrMapping/>
  </p:clrMapOvr>
  <p:transition spd="med"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459384" cy="7007410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93992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343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81923" y="6450954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5347225"/>
      </p:ext>
    </p:extLst>
  </p:cSld>
  <p:clrMapOvr>
    <a:masterClrMapping/>
  </p:clrMapOvr>
  <p:transition spd="med"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459384" cy="70074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145" y="6515560"/>
            <a:ext cx="1259281" cy="22454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67461" y="6528717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60606286"/>
      </p:ext>
    </p:extLst>
  </p:cSld>
  <p:clrMapOvr>
    <a:masterClrMapping/>
  </p:clrMapOvr>
  <p:transition spd="med"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459384" cy="7007410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4" y="391800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81923" y="6531498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533012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8414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93401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24076" y="6535936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083591"/>
      </p:ext>
    </p:extLst>
  </p:cSld>
  <p:clrMapOvr>
    <a:masterClrMapping/>
  </p:clrMapOvr>
  <p:transition spd="med"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Car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400025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24076" y="6525370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614634"/>
      </p:ext>
    </p:extLst>
  </p:cSld>
  <p:clrMapOvr>
    <a:masterClrMapping/>
  </p:clrMapOvr>
  <p:transition spd="med"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400025"/>
            <a:ext cx="7073437" cy="2260105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72" y="5948194"/>
            <a:ext cx="2217803" cy="39545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24076" y="6529470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365082"/>
      </p:ext>
    </p:extLst>
  </p:cSld>
  <p:clrMapOvr>
    <a:masterClrMapping/>
  </p:clrMapOvr>
  <p:transition spd="med"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509" y="-1"/>
            <a:ext cx="12455984" cy="6980283"/>
          </a:xfrm>
          <a:prstGeom prst="rect">
            <a:avLst/>
          </a:prstGeom>
        </p:spPr>
      </p:pic>
      <p:sp>
        <p:nvSpPr>
          <p:cNvPr id="9" name="Title 4"/>
          <p:cNvSpPr txBox="1">
            <a:spLocks/>
          </p:cNvSpPr>
          <p:nvPr userDrawn="1"/>
        </p:nvSpPr>
        <p:spPr>
          <a:xfrm>
            <a:off x="-19509" y="0"/>
            <a:ext cx="12524531" cy="6980282"/>
          </a:xfrm>
          <a:prstGeom prst="rect">
            <a:avLst/>
          </a:prstGeom>
          <a:solidFill>
            <a:srgbClr val="000000">
              <a:alpha val="10000"/>
            </a:srgbClr>
          </a:solidFill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0" cap="none" baseline="0">
                <a:solidFill>
                  <a:schemeClr val="bg1"/>
                </a:solidFill>
                <a:latin typeface="Arial" panose="020B0604020202020204" pitchFamily="34" charset="0"/>
                <a:ea typeface="Museo Sans For Dell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defTabSz="1243493"/>
            <a:r>
              <a:rPr lang="en-US" sz="3808" kern="0" dirty="0">
                <a:solidFill>
                  <a:srgbClr val="007DB8"/>
                </a:solidFill>
              </a:rPr>
              <a:t>   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59863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01945" y="6530997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01593" y="6637632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630255"/>
      </p:ext>
    </p:extLst>
  </p:cSld>
  <p:clrMapOvr>
    <a:masterClrMapping/>
  </p:clrMapOvr>
  <p:transition spd="med"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459384" cy="700741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401593" y="6614215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  <p:sp>
        <p:nvSpPr>
          <p:cNvPr id="8" name="fl" descr="                              Dell - Internal Use - Confidential&#10;"/>
          <p:cNvSpPr txBox="1"/>
          <p:nvPr userDrawn="1"/>
        </p:nvSpPr>
        <p:spPr>
          <a:xfrm>
            <a:off x="689944" y="6599139"/>
            <a:ext cx="2693045" cy="38356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endParaRPr lang="en-US" sz="1224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40530"/>
      </p:ext>
    </p:extLst>
  </p:cSld>
  <p:clrMapOvr>
    <a:masterClrMapping/>
  </p:clrMapOvr>
  <p:transition spd="med"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Body cop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59863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819732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" y="8945"/>
            <a:ext cx="12455985" cy="6994525"/>
          </a:xfrm>
          <a:prstGeom prst="rect">
            <a:avLst/>
          </a:prstGeom>
          <a:solidFill>
            <a:srgbClr val="007DB8">
              <a:alpha val="75000"/>
            </a:srgbClr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7DB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545327" y="6507761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44444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4444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181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wipe dir="r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Body cop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/>
          </p:cNvPicPr>
          <p:nvPr userDrawn="1"/>
        </p:nvPicPr>
        <p:blipFill rotWithShape="1"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810" t="-3390" r="-3810" b="1751"/>
          <a:stretch/>
        </p:blipFill>
        <p:spPr>
          <a:xfrm>
            <a:off x="-377700" y="-259429"/>
            <a:ext cx="10575610" cy="725395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/>
          <a:srcRect l="9657" t="880" r="-9657" b="880"/>
          <a:stretch/>
        </p:blipFill>
        <p:spPr>
          <a:xfrm>
            <a:off x="6666411" y="-30623"/>
            <a:ext cx="6439296" cy="348171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-19509" y="-30623"/>
            <a:ext cx="12455985" cy="6994525"/>
          </a:xfrm>
          <a:prstGeom prst="rect">
            <a:avLst/>
          </a:prstGeom>
          <a:solidFill>
            <a:srgbClr val="AAAAAA">
              <a:alpha val="35000"/>
            </a:srgbClr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7DB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66410" y="3420472"/>
            <a:ext cx="5804178" cy="35955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59863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45031" y="6513129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7009" y="6633496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44444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4444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267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wipe dir="r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59863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819732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76185254"/>
      </p:ext>
    </p:extLst>
  </p:cSld>
  <p:clrMapOvr>
    <a:masterClrMapping/>
  </p:clrMapOvr>
  <p:transition spd="med"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0737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819732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4247072"/>
      </p:ext>
    </p:extLst>
  </p:cSld>
  <p:clrMapOvr>
    <a:masterClrMapping/>
  </p:clrMapOvr>
  <p:transition spd="med"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3" y="1492165"/>
            <a:ext cx="10819733" cy="3247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0736"/>
            <a:ext cx="10819733" cy="87043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2113901"/>
            <a:ext cx="10819733" cy="41034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20925510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0737"/>
            <a:ext cx="10819733" cy="87043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73094" y="1740860"/>
            <a:ext cx="5223320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969508" y="1740860"/>
            <a:ext cx="5223320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20621403"/>
      </p:ext>
    </p:extLst>
  </p:cSld>
  <p:clrMapOvr>
    <a:masterClrMapping/>
  </p:clrMapOvr>
  <p:transition spd="med"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6442" y="364046"/>
            <a:ext cx="5828277" cy="87043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73094" y="1740860"/>
            <a:ext cx="5826347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6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6991971"/>
      </p:ext>
    </p:extLst>
  </p:cSld>
  <p:clrMapOvr>
    <a:masterClrMapping/>
  </p:clrMapOvr>
  <p:transition spd="med"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4" y="364047"/>
            <a:ext cx="6617151" cy="661351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5845143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4" y="1113943"/>
            <a:ext cx="5845143" cy="3247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65540959"/>
      </p:ext>
    </p:extLst>
  </p:cSld>
  <p:clrMapOvr>
    <a:masterClrMapping/>
  </p:clrMapOvr>
  <p:transition spd="med"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4" y="364048"/>
            <a:ext cx="5845143" cy="90404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2113901"/>
            <a:ext cx="5845143" cy="41034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4" y="1576975"/>
            <a:ext cx="5845143" cy="3247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17186351"/>
      </p:ext>
    </p:extLst>
  </p:cSld>
  <p:clrMapOvr>
    <a:masterClrMapping/>
  </p:clrMapOvr>
  <p:transition spd="med"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0738"/>
            <a:ext cx="10819733" cy="904042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242059114"/>
      </p:ext>
    </p:extLst>
  </p:cSld>
  <p:clrMapOvr>
    <a:masterClrMapping/>
  </p:clrMapOvr>
  <p:transition spd="med">
    <p:wipe dir="r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_No body copy">
    <p:bg>
      <p:bgPr>
        <a:solidFill>
          <a:srgbClr val="AAAA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55008" y="373475"/>
            <a:ext cx="10726460" cy="13514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9451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wipe dir="r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53857" cy="70043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684190"/>
      </p:ext>
    </p:extLst>
  </p:cSld>
  <p:clrMapOvr>
    <a:masterClrMapping/>
  </p:clrMapOvr>
  <p:transition spd="med"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453854" cy="70043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446514"/>
      </p:ext>
    </p:extLst>
  </p:cSld>
  <p:clrMapOvr>
    <a:masterClrMapping/>
  </p:clrMapOvr>
  <p:transition spd="med">
    <p:wipe dir="r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453854" cy="70043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267095"/>
      </p:ext>
    </p:extLst>
  </p:cSld>
  <p:clrMapOvr>
    <a:masterClrMapping/>
  </p:clrMapOvr>
  <p:transition spd="med">
    <p:wipe dir="r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105313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822901"/>
      </p:ext>
    </p:extLst>
  </p:cSld>
  <p:clrMapOvr>
    <a:masterClrMapping/>
  </p:clrMapOvr>
  <p:transition spd="med">
    <p:wipe dir="r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071" y="6579764"/>
            <a:ext cx="919305" cy="1639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949099" y="6569962"/>
            <a:ext cx="287771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r>
              <a:rPr lang="en-US" sz="1360" b="1" dirty="0">
                <a:solidFill>
                  <a:srgbClr val="FFFFFF"/>
                </a:solidFill>
                <a:latin typeface="museo sans for dell" panose="02000000000000000000" pitchFamily="2" charset="0"/>
              </a:rPr>
              <a:t> Dell - Internal Use - Confidentia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FFFFFF"/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305178"/>
      </p:ext>
    </p:extLst>
  </p:cSld>
  <p:clrMapOvr>
    <a:masterClrMapping/>
  </p:clrMapOvr>
  <p:transition spd="med">
    <p:wipe dir="r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69" y="3069429"/>
            <a:ext cx="4142837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917608"/>
      </p:ext>
    </p:extLst>
  </p:cSld>
  <p:clrMapOvr>
    <a:masterClrMapping/>
  </p:clrMapOvr>
  <p:transition spd="med">
    <p:wipe dir="r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69" y="3069429"/>
            <a:ext cx="4142837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73659"/>
      </p:ext>
    </p:extLst>
  </p:cSld>
  <p:clrMapOvr>
    <a:masterClrMapping/>
  </p:clrMapOvr>
  <p:transition spd="med">
    <p:wipe dir="r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69" y="3069429"/>
            <a:ext cx="4142837" cy="73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92847"/>
      </p:ext>
    </p:extLst>
  </p:cSld>
  <p:clrMapOvr>
    <a:masterClrMapping/>
  </p:clrMapOvr>
  <p:transition spd="med">
    <p:wipe dir="r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69732"/>
            <a:ext cx="11455798" cy="904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939992871"/>
      </p:ext>
    </p:extLst>
  </p:cSld>
  <p:clrMapOvr>
    <a:masterClrMapping/>
  </p:clrMapOvr>
  <p:transition spd="slow">
    <p:wipe dir="r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6" y="369731"/>
            <a:ext cx="11450192" cy="87043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824" y="1305645"/>
            <a:ext cx="11192828" cy="182505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Bef>
                <a:spcPts val="1632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720">
                <a:solidFill>
                  <a:schemeClr val="tx1"/>
                </a:solidFill>
                <a:latin typeface="Museo Sans For Dell" pitchFamily="2" charset="0"/>
              </a:defRPr>
            </a:lvl1pPr>
            <a:lvl2pPr marL="779342" indent="-315191">
              <a:spcBef>
                <a:spcPts val="408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2448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408"/>
              </a:spcBef>
              <a:spcAft>
                <a:spcPts val="0"/>
              </a:spcAft>
              <a:buClr>
                <a:schemeClr val="bg1"/>
              </a:buClr>
              <a:defRPr sz="2176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chemeClr val="bg1"/>
              </a:buClr>
              <a:defRPr sz="1904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chemeClr val="bg1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95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44637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2" y="369731"/>
            <a:ext cx="11455798" cy="87043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777715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chemeClr val="bg2"/>
                </a:solidFill>
                <a:latin typeface="Museo Sans For Dell" pitchFamily="2" charset="0"/>
              </a:defRPr>
            </a:lvl1pPr>
            <a:lvl2pPr marL="779323" indent="-315184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61237340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2379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1" y="1965643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4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2"/>
            <a:ext cx="1456418" cy="31089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10333038" y="296863"/>
            <a:ext cx="1828800" cy="461665"/>
          </a:xfrm>
        </p:spPr>
        <p:txBody>
          <a:bodyPr/>
          <a:lstStyle>
            <a:lvl1pPr marL="0" indent="0" algn="r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783565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651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559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9454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3834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707770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62917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331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251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3570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6104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362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0853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3997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3029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650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0129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40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256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404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50837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9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8100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698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3401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7478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276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58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755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964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6698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8852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74993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1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6505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50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286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538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5388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281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01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6501" y="1965643"/>
            <a:ext cx="7899548" cy="214884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805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76113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921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626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012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347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155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174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81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252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960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1454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687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071116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7081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57097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98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56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921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1383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14923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674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584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73042"/>
            <a:ext cx="7073437" cy="226010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8274" y="5948194"/>
            <a:ext cx="2220199" cy="395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622392"/>
      </p:ext>
    </p:extLst>
  </p:cSld>
  <p:clrMapOvr>
    <a:masterClrMapping/>
  </p:clrMapOvr>
  <p:transition spd="med"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73042"/>
            <a:ext cx="7073437" cy="226010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8274" y="5948194"/>
            <a:ext cx="2220199" cy="395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31657"/>
      </p:ext>
    </p:extLst>
  </p:cSld>
  <p:clrMapOvr>
    <a:masterClrMapping/>
  </p:clrMapOvr>
  <p:transition spd="med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Car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73042"/>
            <a:ext cx="7073437" cy="226010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8274" y="5948194"/>
            <a:ext cx="2220199" cy="395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16872"/>
      </p:ext>
    </p:extLst>
  </p:cSld>
  <p:clrMapOvr>
    <a:masterClrMapping/>
  </p:clrMapOvr>
  <p:transition spd="med"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436475" cy="7004240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algn="ctr" defTabSz="1243493" fontAlgn="base">
              <a:lnSpc>
                <a:spcPct val="90000"/>
              </a:lnSpc>
              <a:spcBef>
                <a:spcPts val="816"/>
              </a:spcBef>
            </a:pPr>
            <a:endParaRPr lang="en-US" sz="2720" dirty="0" err="1">
              <a:solidFill>
                <a:srgbClr val="000000"/>
              </a:solidFill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73095" y="373042"/>
            <a:ext cx="7073437" cy="226010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343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73095" y="3062623"/>
            <a:ext cx="7073437" cy="4185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72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8274" y="5948194"/>
            <a:ext cx="2220199" cy="395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850974"/>
      </p:ext>
    </p:extLst>
  </p:cSld>
  <p:clrMapOvr>
    <a:masterClrMapping/>
  </p:clrMapOvr>
  <p:transition spd="med"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1"/>
            <a:ext cx="10819733" cy="87043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819732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07579473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1"/>
            <a:ext cx="10819733" cy="87043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10819732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8184421"/>
      </p:ext>
    </p:extLst>
  </p:cSld>
  <p:clrMapOvr>
    <a:masterClrMapping/>
  </p:clrMapOvr>
  <p:transition spd="med"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3" y="1492165"/>
            <a:ext cx="10819733" cy="324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0"/>
            <a:ext cx="10819733" cy="8704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2113901"/>
            <a:ext cx="10819733" cy="41034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69470507"/>
      </p:ext>
    </p:extLst>
  </p:cSld>
  <p:clrMapOvr>
    <a:masterClrMapping/>
  </p:clrMapOvr>
  <p:transition spd="med"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1"/>
            <a:ext cx="10819733" cy="8704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73094" y="1740860"/>
            <a:ext cx="5223320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969508" y="1740860"/>
            <a:ext cx="5223320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5618770"/>
      </p:ext>
    </p:extLst>
  </p:cSld>
  <p:clrMapOvr>
    <a:masterClrMapping/>
  </p:clrMapOvr>
  <p:transition spd="med"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6442" y="373040"/>
            <a:ext cx="5828277" cy="8704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73094" y="1740860"/>
            <a:ext cx="5826347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defRPr sz="1904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1501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6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48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3654962"/>
      </p:ext>
    </p:extLst>
  </p:cSld>
  <p:clrMapOvr>
    <a:masterClrMapping/>
  </p:clrMapOvr>
  <p:transition spd="med"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4" y="373042"/>
            <a:ext cx="6858486" cy="45202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1740860"/>
            <a:ext cx="5845143" cy="435214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4" y="1113943"/>
            <a:ext cx="5845143" cy="324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60258596"/>
      </p:ext>
    </p:extLst>
  </p:cSld>
  <p:clrMapOvr>
    <a:masterClrMapping/>
  </p:clrMapOvr>
  <p:transition spd="med"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4" y="373042"/>
            <a:ext cx="5845143" cy="90404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3094" y="2113901"/>
            <a:ext cx="5845143" cy="41034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32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904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9342" indent="-315191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3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36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8"/>
              </a:spcBef>
              <a:spcAft>
                <a:spcPts val="0"/>
              </a:spcAft>
              <a:buClr>
                <a:srgbClr val="AAAAAA"/>
              </a:buClr>
              <a:defRPr sz="1632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48"/>
            </a:lvl6pPr>
            <a:lvl7pPr>
              <a:defRPr sz="2448"/>
            </a:lvl7pPr>
            <a:lvl8pPr>
              <a:defRPr sz="2448"/>
            </a:lvl8pPr>
            <a:lvl9pPr>
              <a:defRPr sz="2448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094" y="1514016"/>
            <a:ext cx="5845143" cy="324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064120304"/>
      </p:ext>
    </p:extLst>
  </p:cSld>
  <p:clrMapOvr>
    <a:masterClrMapping/>
  </p:clrMapOvr>
  <p:transition spd="med"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3093" y="369732"/>
            <a:ext cx="10819733" cy="90404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556970646"/>
      </p:ext>
    </p:extLst>
  </p:cSld>
  <p:clrMapOvr>
    <a:masterClrMapping/>
  </p:clrMapOvr>
  <p:transition spd="med"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97762719"/>
      </p:ext>
    </p:extLst>
  </p:cSld>
  <p:clrMapOvr>
    <a:masterClrMapping/>
  </p:clrMapOvr>
  <p:transition spd="med"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7343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1461888252"/>
      </p:ext>
    </p:extLst>
  </p:cSld>
  <p:clrMapOvr>
    <a:masterClrMapping/>
  </p:clrMapOvr>
  <p:transition spd="med">
    <p:wipe dir="r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3095" y="2377433"/>
            <a:ext cx="9317701" cy="203409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7343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divider slide title </a:t>
            </a:r>
          </a:p>
        </p:txBody>
      </p:sp>
    </p:spTree>
    <p:extLst>
      <p:ext uri="{BB962C8B-B14F-4D97-AF65-F5344CB8AC3E}">
        <p14:creationId xmlns:p14="http://schemas.microsoft.com/office/powerpoint/2010/main" val="835662337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image" Target="../media/image12.png"/><Relationship Id="rId8" Type="http://schemas.openxmlformats.org/officeDocument/2006/relationships/slideLayout" Target="../slideLayouts/slideLayout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295" r:id="rId2"/>
    <p:sldLayoutId id="2147484240" r:id="rId3"/>
    <p:sldLayoutId id="2147484296" r:id="rId4"/>
    <p:sldLayoutId id="2147484241" r:id="rId5"/>
    <p:sldLayoutId id="2147484297" r:id="rId6"/>
    <p:sldLayoutId id="2147484244" r:id="rId7"/>
    <p:sldLayoutId id="2147484298" r:id="rId8"/>
    <p:sldLayoutId id="2147484245" r:id="rId9"/>
    <p:sldLayoutId id="2147484247" r:id="rId10"/>
    <p:sldLayoutId id="2147484331" r:id="rId11"/>
    <p:sldLayoutId id="2147484249" r:id="rId12"/>
    <p:sldLayoutId id="2147484301" r:id="rId13"/>
    <p:sldLayoutId id="2147484251" r:id="rId14"/>
    <p:sldLayoutId id="2147484252" r:id="rId15"/>
    <p:sldLayoutId id="2147484254" r:id="rId16"/>
    <p:sldLayoutId id="2147484365" r:id="rId17"/>
    <p:sldLayoutId id="2147484257" r:id="rId18"/>
    <p:sldLayoutId id="2147484258" r:id="rId19"/>
    <p:sldLayoutId id="2147484260" r:id="rId20"/>
    <p:sldLayoutId id="2147484299" r:id="rId21"/>
    <p:sldLayoutId id="2147484263" r:id="rId2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900" marR="0" lvl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200" marR="0" lvl="1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90329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32" r:id="rId8"/>
    <p:sldLayoutId id="2147484333" r:id="rId9"/>
    <p:sldLayoutId id="2147484334" r:id="rId10"/>
    <p:sldLayoutId id="2147484335" r:id="rId11"/>
    <p:sldLayoutId id="2147484336" r:id="rId12"/>
    <p:sldLayoutId id="2147484323" r:id="rId13"/>
    <p:sldLayoutId id="2147484364" r:id="rId14"/>
    <p:sldLayoutId id="2147484324" r:id="rId15"/>
    <p:sldLayoutId id="2147484325" r:id="rId16"/>
    <p:sldLayoutId id="2147484326" r:id="rId17"/>
    <p:sldLayoutId id="2147484327" r:id="rId18"/>
    <p:sldLayoutId id="2147484328" r:id="rId1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55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  <p:sldLayoutId id="2147484356" r:id="rId14"/>
    <p:sldLayoutId id="2147484357" r:id="rId15"/>
    <p:sldLayoutId id="2147484358" r:id="rId16"/>
    <p:sldLayoutId id="2147484359" r:id="rId17"/>
    <p:sldLayoutId id="2147484360" r:id="rId18"/>
    <p:sldLayoutId id="2147484361" r:id="rId19"/>
    <p:sldLayoutId id="2147484362" r:id="rId20"/>
    <p:sldLayoutId id="21474843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  <p:sp>
        <p:nvSpPr>
          <p:cNvPr id="5" name="fl"/>
          <p:cNvSpPr txBox="1"/>
          <p:nvPr userDrawn="1"/>
        </p:nvSpPr>
        <p:spPr>
          <a:xfrm>
            <a:off x="0" y="6601841"/>
            <a:ext cx="12436475" cy="627864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75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  <p:sldLayoutId id="2147484379" r:id="rId13"/>
    <p:sldLayoutId id="2147484380" r:id="rId14"/>
    <p:sldLayoutId id="2147484381" r:id="rId15"/>
    <p:sldLayoutId id="2147484382" r:id="rId16"/>
    <p:sldLayoutId id="2147484383" r:id="rId17"/>
    <p:sldLayoutId id="2147484384" r:id="rId18"/>
    <p:sldLayoutId id="2147484385" r:id="rId19"/>
    <p:sldLayoutId id="2147484386" r:id="rId20"/>
    <p:sldLayoutId id="2147484387" r:id="rId21"/>
    <p:sldLayoutId id="2147484388" r:id="rId2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77980" y="6561839"/>
            <a:ext cx="883415" cy="1695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816"/>
              </a:spcBef>
              <a:buClr>
                <a:srgbClr val="007DB8"/>
              </a:buClr>
            </a:pPr>
            <a:fld id="{E00CF047-7350-4707-AA1A-E56FA69586CC}" type="datetime1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ts val="816"/>
                </a:spcBef>
                <a:buClr>
                  <a:srgbClr val="007DB8"/>
                </a:buClr>
              </a:pPr>
              <a:t>9/28/2016</a:t>
            </a:fld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77980" y="6561839"/>
            <a:ext cx="883415" cy="1695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816"/>
              </a:spcBef>
              <a:buClr>
                <a:srgbClr val="007DB8"/>
              </a:buClr>
            </a:pPr>
            <a:fld id="{E00CF047-7350-4707-AA1A-E56FA69586CC}" type="datetime1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ts val="816"/>
                </a:spcBef>
                <a:buClr>
                  <a:srgbClr val="007DB8"/>
                </a:buClr>
              </a:pPr>
              <a:t>9/28/2016</a:t>
            </a:fld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4323" y="6580077"/>
            <a:ext cx="918550" cy="16360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76052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l"/>
          <p:cNvSpPr txBox="1"/>
          <p:nvPr/>
        </p:nvSpPr>
        <p:spPr>
          <a:xfrm>
            <a:off x="0" y="6645465"/>
            <a:ext cx="12436475" cy="2524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endParaRPr lang="en-US" sz="1156" b="1" dirty="0" err="1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95501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390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  <p:sldLayoutId id="2147484404" r:id="rId13"/>
    <p:sldLayoutId id="2147484407" r:id="rId14"/>
    <p:sldLayoutId id="2147484408" r:id="rId15"/>
    <p:sldLayoutId id="2147484409" r:id="rId16"/>
    <p:sldLayoutId id="2147484410" r:id="rId17"/>
    <p:sldLayoutId id="2147484411" r:id="rId18"/>
    <p:sldLayoutId id="2147484412" r:id="rId19"/>
    <p:sldLayoutId id="2147484413" r:id="rId20"/>
    <p:sldLayoutId id="2147484414" r:id="rId21"/>
    <p:sldLayoutId id="2147484435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8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5pPr>
      <a:lvl6pPr marL="62174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6pPr>
      <a:lvl7pPr marL="124349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7pPr>
      <a:lvl8pPr marL="18652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8pPr>
      <a:lvl9pPr marL="24869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9pPr>
    </p:titleStyle>
    <p:bodyStyle>
      <a:lvl1pPr marL="310873" indent="-310873" algn="l" rtl="0" eaLnBrk="1" fontAlgn="base" hangingPunct="1">
        <a:lnSpc>
          <a:spcPct val="100000"/>
        </a:lnSpc>
        <a:spcBef>
          <a:spcPts val="1632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904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81501" indent="-317350" algn="l" rtl="0" eaLnBrk="1" fontAlgn="base" hangingPunct="1">
        <a:lnSpc>
          <a:spcPct val="100000"/>
        </a:lnSpc>
        <a:spcBef>
          <a:spcPts val="408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32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37017" indent="-300080" algn="l" rtl="0" eaLnBrk="1" fontAlgn="base" hangingPunct="1">
        <a:lnSpc>
          <a:spcPct val="100000"/>
        </a:lnSpc>
        <a:spcBef>
          <a:spcPts val="408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6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94691" indent="-302238" algn="l" rtl="0" eaLnBrk="1" fontAlgn="base" hangingPunct="1">
        <a:lnSpc>
          <a:spcPct val="90000"/>
        </a:lnSpc>
        <a:spcBef>
          <a:spcPts val="408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6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86907" indent="-321668" algn="l" rtl="0" eaLnBrk="1" fontAlgn="base" hangingPunct="1">
        <a:lnSpc>
          <a:spcPct val="90000"/>
        </a:lnSpc>
        <a:spcBef>
          <a:spcPts val="1088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48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808653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6pPr>
      <a:lvl7pPr marL="3430399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7pPr>
      <a:lvl8pPr marL="4052146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8pPr>
      <a:lvl9pPr marL="4673892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746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493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239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6985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8731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0478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2224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3970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900" marR="0" lvl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200" marR="0" lvl="1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  <p:sp>
        <p:nvSpPr>
          <p:cNvPr id="5" name="fl"/>
          <p:cNvSpPr txBox="1"/>
          <p:nvPr userDrawn="1"/>
        </p:nvSpPr>
        <p:spPr>
          <a:xfrm>
            <a:off x="0" y="6601841"/>
            <a:ext cx="12436475" cy="627864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71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  <p:sldLayoutId id="2147484428" r:id="rId13"/>
    <p:sldLayoutId id="2147484429" r:id="rId14"/>
    <p:sldLayoutId id="2147484430" r:id="rId15"/>
    <p:sldLayoutId id="2147484431" r:id="rId16"/>
    <p:sldLayoutId id="2147484432" r:id="rId17"/>
    <p:sldLayoutId id="2147484433" r:id="rId18"/>
    <p:sldLayoutId id="2147484434" r:id="rId1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77980" y="6561839"/>
            <a:ext cx="883415" cy="1695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816"/>
              </a:spcBef>
              <a:buClr>
                <a:srgbClr val="007DB8"/>
              </a:buClr>
            </a:pPr>
            <a:fld id="{E00CF047-7350-4707-AA1A-E56FA69586CC}" type="datetime1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ts val="816"/>
                </a:spcBef>
                <a:buClr>
                  <a:srgbClr val="007DB8"/>
                </a:buClr>
              </a:pPr>
              <a:t>9/28/2016</a:t>
            </a:fld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77980" y="6561839"/>
            <a:ext cx="883415" cy="1695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816"/>
              </a:spcBef>
              <a:buClr>
                <a:srgbClr val="007DB8"/>
              </a:buClr>
            </a:pPr>
            <a:fld id="{E00CF047-7350-4707-AA1A-E56FA69586CC}" type="datetime1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ts val="816"/>
                </a:spcBef>
                <a:buClr>
                  <a:srgbClr val="007DB8"/>
                </a:buClr>
              </a:pPr>
              <a:t>9/28/2016</a:t>
            </a:fld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01593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5685" y="6531328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224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434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224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151" y="6483362"/>
            <a:ext cx="1209260" cy="214948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76052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41961" y="6627830"/>
            <a:ext cx="360658" cy="1212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defTabSz="12434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224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1" name="fl"/>
          <p:cNvSpPr txBox="1"/>
          <p:nvPr userDrawn="1"/>
        </p:nvSpPr>
        <p:spPr>
          <a:xfrm>
            <a:off x="0" y="6617462"/>
            <a:ext cx="12436475" cy="18838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defTabSz="1243493" fontAlgn="base">
              <a:lnSpc>
                <a:spcPct val="90000"/>
              </a:lnSpc>
              <a:spcBef>
                <a:spcPts val="136"/>
              </a:spcBef>
              <a:spcAft>
                <a:spcPts val="136"/>
              </a:spcAft>
            </a:pPr>
            <a:endParaRPr lang="en-US" sz="136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237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37" r:id="rId1"/>
    <p:sldLayoutId id="2147484438" r:id="rId2"/>
    <p:sldLayoutId id="2147484439" r:id="rId3"/>
    <p:sldLayoutId id="2147484440" r:id="rId4"/>
    <p:sldLayoutId id="2147484441" r:id="rId5"/>
    <p:sldLayoutId id="2147484442" r:id="rId6"/>
    <p:sldLayoutId id="2147484443" r:id="rId7"/>
    <p:sldLayoutId id="2147484444" r:id="rId8"/>
    <p:sldLayoutId id="2147484445" r:id="rId9"/>
    <p:sldLayoutId id="2147484446" r:id="rId10"/>
    <p:sldLayoutId id="2147484447" r:id="rId11"/>
    <p:sldLayoutId id="2147484448" r:id="rId12"/>
    <p:sldLayoutId id="2147484449" r:id="rId13"/>
    <p:sldLayoutId id="2147484450" r:id="rId14"/>
    <p:sldLayoutId id="2147484451" r:id="rId15"/>
    <p:sldLayoutId id="2147484452" r:id="rId16"/>
    <p:sldLayoutId id="2147484453" r:id="rId17"/>
    <p:sldLayoutId id="2147484454" r:id="rId18"/>
    <p:sldLayoutId id="2147484455" r:id="rId19"/>
    <p:sldLayoutId id="2147484456" r:id="rId20"/>
    <p:sldLayoutId id="2147484457" r:id="rId21"/>
    <p:sldLayoutId id="2147484458" r:id="rId22"/>
    <p:sldLayoutId id="2147484459" r:id="rId23"/>
    <p:sldLayoutId id="2147484460" r:id="rId24"/>
    <p:sldLayoutId id="2147484461" r:id="rId25"/>
    <p:sldLayoutId id="2147484462" r:id="rId26"/>
    <p:sldLayoutId id="2147484463" r:id="rId27"/>
    <p:sldLayoutId id="2147484464" r:id="rId28"/>
    <p:sldLayoutId id="2147484465" r:id="rId29"/>
    <p:sldLayoutId id="2147484466" r:id="rId30"/>
    <p:sldLayoutId id="2147484467" r:id="rId31"/>
    <p:sldLayoutId id="2147484468" r:id="rId32"/>
    <p:sldLayoutId id="2147484469" r:id="rId33"/>
  </p:sldLayoutIdLst>
  <p:transition spd="med">
    <p:wipe dir="r"/>
  </p:transition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8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52" b="1">
          <a:solidFill>
            <a:schemeClr val="accent1"/>
          </a:solidFill>
          <a:latin typeface="Arial Black" pitchFamily="34" charset="0"/>
        </a:defRPr>
      </a:lvl5pPr>
      <a:lvl6pPr marL="62174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6pPr>
      <a:lvl7pPr marL="124349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7pPr>
      <a:lvl8pPr marL="18652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8pPr>
      <a:lvl9pPr marL="24869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84" b="1">
          <a:solidFill>
            <a:schemeClr val="accent1"/>
          </a:solidFill>
          <a:latin typeface="Arial Black" pitchFamily="34" charset="0"/>
        </a:defRPr>
      </a:lvl9pPr>
    </p:titleStyle>
    <p:bodyStyle>
      <a:lvl1pPr marL="310873" indent="-310873" algn="l" rtl="0" eaLnBrk="1" fontAlgn="base" hangingPunct="1">
        <a:lnSpc>
          <a:spcPct val="100000"/>
        </a:lnSpc>
        <a:spcBef>
          <a:spcPts val="1632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904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81501" indent="-317350" algn="l" rtl="0" eaLnBrk="1" fontAlgn="base" hangingPunct="1">
        <a:lnSpc>
          <a:spcPct val="100000"/>
        </a:lnSpc>
        <a:spcBef>
          <a:spcPts val="408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32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37017" indent="-300080" algn="l" rtl="0" eaLnBrk="1" fontAlgn="base" hangingPunct="1">
        <a:lnSpc>
          <a:spcPct val="100000"/>
        </a:lnSpc>
        <a:spcBef>
          <a:spcPts val="408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6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94691" indent="-302238" algn="l" rtl="0" eaLnBrk="1" fontAlgn="base" hangingPunct="1">
        <a:lnSpc>
          <a:spcPct val="90000"/>
        </a:lnSpc>
        <a:spcBef>
          <a:spcPts val="408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6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86907" indent="-321668" algn="l" rtl="0" eaLnBrk="1" fontAlgn="base" hangingPunct="1">
        <a:lnSpc>
          <a:spcPct val="90000"/>
        </a:lnSpc>
        <a:spcBef>
          <a:spcPts val="1088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48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808653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6pPr>
      <a:lvl7pPr marL="3430399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7pPr>
      <a:lvl8pPr marL="4052146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8pPr>
      <a:lvl9pPr marL="4673892" indent="-3216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76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746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493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239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6985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8731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0478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2224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3970" algn="l" defTabSz="124349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3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9.xml"/><Relationship Id="rId5" Type="http://schemas.openxmlformats.org/officeDocument/2006/relationships/hyperlink" Target="http://www.principledtechnologies.com/Dell/PowerEdge_R830_&amp;_SQL_Server_2016_0716.pdf?utm_source=marketwired&amp;utm_medium=email&amp;utm_campaign=Cook-R830-Report" TargetMode="Externa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41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jpg"/><Relationship Id="rId3" Type="http://schemas.openxmlformats.org/officeDocument/2006/relationships/image" Target="../media/image42.jpe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49.png"/><Relationship Id="rId11" Type="http://schemas.openxmlformats.org/officeDocument/2006/relationships/image" Target="../media/image54.jpe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4.xml"/><Relationship Id="rId5" Type="http://schemas.openxmlformats.org/officeDocument/2006/relationships/image" Target="../media/image25.emf"/><Relationship Id="rId4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6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4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ll.com/dhcs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2.xml"/><Relationship Id="rId6" Type="http://schemas.openxmlformats.org/officeDocument/2006/relationships/hyperlink" Target="mailto:Get_Azure@dell.com" TargetMode="External"/><Relationship Id="rId5" Type="http://schemas.openxmlformats.org/officeDocument/2006/relationships/hyperlink" Target="http://www.dell.com/sql" TargetMode="External"/><Relationship Id="rId4" Type="http://schemas.openxmlformats.org/officeDocument/2006/relationships/hyperlink" Target="http://www.dell.com/exchange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myignite.microsoft.co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0.xml"/><Relationship Id="rId6" Type="http://schemas.openxmlformats.org/officeDocument/2006/relationships/image" Target="../media/image65.png"/><Relationship Id="rId5" Type="http://schemas.openxmlformats.org/officeDocument/2006/relationships/image" Target="../media/image64.jpg"/><Relationship Id="rId4" Type="http://schemas.openxmlformats.org/officeDocument/2006/relationships/hyperlink" Target="https://aka.ms/ignite.mobileapp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25.emf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9.xml"/><Relationship Id="rId4" Type="http://schemas.openxmlformats.org/officeDocument/2006/relationships/hyperlink" Target="http://en.community.dell.com/dell-blogs/direct2dell/b/direct2dell/archive/2015/10/08/global-technology-adoption-index-2015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sz="5400" dirty="0"/>
              <a:t>Let the transformation begin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74638" y="3954463"/>
            <a:ext cx="8229599" cy="1181862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40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+mn-cs"/>
              </a:rPr>
              <a:t>Jim 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+mn-cs"/>
              </a:rPr>
              <a:t>Ganthier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+mn-cs"/>
              </a:rPr>
              <a:t>SVP, Validated Solutions &amp; HPC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88" y="1209973"/>
            <a:ext cx="3695549" cy="65189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961437" y="296863"/>
            <a:ext cx="3200401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BRK1041</a:t>
            </a:r>
          </a:p>
        </p:txBody>
      </p:sp>
    </p:spTree>
    <p:extLst>
      <p:ext uri="{BB962C8B-B14F-4D97-AF65-F5344CB8AC3E}">
        <p14:creationId xmlns:p14="http://schemas.microsoft.com/office/powerpoint/2010/main" val="104168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81" y="0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15372" y="2211750"/>
            <a:ext cx="6412465" cy="250088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2"/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24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zure Cloud Services from Dell EMC</a:t>
            </a:r>
            <a:endParaRPr kumimoji="0" lang="en-US" sz="462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779" y="1081666"/>
            <a:ext cx="1137329" cy="5970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746" y="2068272"/>
            <a:ext cx="1194947" cy="627347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/>
        </p:nvSpPr>
        <p:spPr>
          <a:xfrm>
            <a:off x="8136822" y="1997837"/>
            <a:ext cx="3870143" cy="947506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zure Dev/Test Lab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136822" y="906462"/>
            <a:ext cx="3872615" cy="947506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zure Backup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8136822" y="3106524"/>
            <a:ext cx="3858112" cy="947506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zure Business Continuity Sol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908221" y="4181842"/>
            <a:ext cx="40225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Azure Site Recovery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Azure Operations Management Suite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Azure Backup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Azure Express Route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Dell EMC provisioning, consulting, break/fix support, networking pay-as-you-go/short-term pricing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99" t="11489" b="19580"/>
          <a:stretch/>
        </p:blipFill>
        <p:spPr>
          <a:xfrm>
            <a:off x="6993820" y="3106524"/>
            <a:ext cx="903288" cy="73465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26348" y="4502268"/>
            <a:ext cx="586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n-lt"/>
              </a:rPr>
              <a:t>Offered a la carte, with every PowerEdge server, converged system and with software</a:t>
            </a:r>
          </a:p>
        </p:txBody>
      </p:sp>
    </p:spTree>
    <p:extLst>
      <p:ext uri="{BB962C8B-B14F-4D97-AF65-F5344CB8AC3E}">
        <p14:creationId xmlns:p14="http://schemas.microsoft.com/office/powerpoint/2010/main" val="318586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65" y="-22751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27037" y="1973262"/>
            <a:ext cx="11441665" cy="250088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2"/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“We’ve been able to increase insight into global backups and reduce risk with Azure Backup Services from Dell. By choosing a vault closer to where our servers are, we’ve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ccelerated some backups by 79%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. And we can set up a new backup process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3x faster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.”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“We’re saving money with Azure Backup from Dell. On our first bill, our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costs were nearly 50% less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compared with our previous solution.”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− Mike </a:t>
            </a:r>
            <a:r>
              <a:rPr kumimoji="0" lang="en-US" sz="2800" b="0" i="1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Oreno</a:t>
            </a:r>
            <a:r>
              <a: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, System Administrator and IT Support Manager, ARIIX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37" y="5249862"/>
            <a:ext cx="2704219" cy="152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90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 txBox="1">
            <a:spLocks/>
          </p:cNvSpPr>
          <p:nvPr/>
        </p:nvSpPr>
        <p:spPr>
          <a:xfrm>
            <a:off x="6822068" y="2957941"/>
            <a:ext cx="5410200" cy="2153724"/>
          </a:xfrm>
          <a:prstGeom prst="rect">
            <a:avLst/>
          </a:prstGeom>
          <a:solidFill>
            <a:schemeClr val="bg2">
              <a:alpha val="68000"/>
            </a:schemeClr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SAVING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: Lower cost of ownership through optimized storage design and efficient system manage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SPE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: 99% reduction in server configuration time with Zero Touch Auto Configur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SCA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t>: Easy scale-out and high availability infrastru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useo Sans For Dell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096" y="2377433"/>
            <a:ext cx="6607142" cy="2034095"/>
          </a:xfrm>
        </p:spPr>
        <p:txBody>
          <a:bodyPr>
            <a:normAutofit/>
          </a:bodyPr>
          <a:lstStyle/>
          <a:p>
            <a:r>
              <a:rPr lang="en-US" sz="4620" dirty="0"/>
              <a:t>Validated System for Microsoft Exchang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2933" y="4206233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Configured, quoted and ordered in minut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42437" y="4825433"/>
            <a:ext cx="184731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19" b="27667"/>
          <a:stretch/>
        </p:blipFill>
        <p:spPr>
          <a:xfrm>
            <a:off x="6777830" y="924602"/>
            <a:ext cx="5129213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886336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50837" y="1668462"/>
            <a:ext cx="11650524" cy="3511918"/>
          </a:xfrm>
          <a:prstGeom prst="rect">
            <a:avLst/>
          </a:prstGeom>
          <a:solidFill>
            <a:schemeClr val="bg2">
              <a:alpha val="30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“We were able to consolidate Exchange servers so they run in only six global data centers instead of 49 data centers by centralizing our messaging service on next-generation Dell PowerEdge servers and Dell Storage. In addition to delivering the compute and I/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O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per second we need in a smaller footprint, we also expect to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save more than $1 millio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in capital and operational expenditures over the next two years.”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−</a:t>
            </a:r>
            <a:r>
              <a:rPr kumimoji="0" lang="en-US" sz="2400" b="0" i="1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loyce</a:t>
            </a: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Yarborough, IT Senior Manager, Global Messaging and Collabor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ngineering, Dell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6" y="677862"/>
            <a:ext cx="2858911" cy="50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226268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2000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410142" y="3161873"/>
            <a:ext cx="5884296" cy="670780"/>
          </a:xfrm>
        </p:spPr>
        <p:txBody>
          <a:bodyPr>
            <a:noAutofit/>
          </a:bodyPr>
          <a:lstStyle/>
          <a:p>
            <a:pPr fontAlgn="auto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defRPr/>
            </a:pPr>
            <a:r>
              <a:rPr lang="en-US" sz="4624" dirty="0">
                <a:solidFill>
                  <a:schemeClr val="tx2"/>
                </a:solidFill>
              </a:rPr>
              <a:t>Validated System for Microsoft SQL</a:t>
            </a: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410140" y="3832653"/>
            <a:ext cx="3791983" cy="137626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5400" b="0" i="0" cap="none" baseline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base" latinLnBrk="0" hangingPunct="1">
              <a:lnSpc>
                <a:spcPct val="90000"/>
              </a:lnSpc>
              <a:spcBef>
                <a:spcPts val="6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76" b="0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462" t="14059" r="39923" b="18770"/>
          <a:stretch/>
        </p:blipFill>
        <p:spPr>
          <a:xfrm>
            <a:off x="6980237" y="1287462"/>
            <a:ext cx="4648200" cy="32766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6652" y="4352126"/>
            <a:ext cx="5707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43493" eaLnBrk="1" fontAlgn="auto" latinLnBrk="0" hangingPunct="1">
              <a:lnSpc>
                <a:spcPct val="90000"/>
              </a:lnSpc>
              <a:spcBef>
                <a:spcPts val="6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Get 5.6x the database performance with under 1ms response time</a:t>
            </a:r>
          </a:p>
        </p:txBody>
      </p:sp>
      <p:sp>
        <p:nvSpPr>
          <p:cNvPr id="3" name="Rectangle 2"/>
          <p:cNvSpPr/>
          <p:nvPr/>
        </p:nvSpPr>
        <p:spPr>
          <a:xfrm>
            <a:off x="520699" y="6164262"/>
            <a:ext cx="621665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hlinkClick r:id="rId5"/>
              </a:rPr>
              <a:t>Source: Dell PowerEdge R830 server with Dell Storage SC9000 all-flash array with Microsoft SQL Server 2016, Principled Technologies, July 201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380524" y="4937811"/>
            <a:ext cx="43887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AVINGS: Consolidate and sav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PEED: Up to 30x faster transacti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CALE: Future ready scalability</a:t>
            </a:r>
          </a:p>
        </p:txBody>
      </p:sp>
    </p:spTree>
    <p:extLst>
      <p:ext uri="{BB962C8B-B14F-4D97-AF65-F5344CB8AC3E}">
        <p14:creationId xmlns:p14="http://schemas.microsoft.com/office/powerpoint/2010/main" val="3359030401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82" y="-38100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2000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79437" y="949635"/>
            <a:ext cx="7612926" cy="503386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5400" b="0" i="0" cap="none" baseline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“When we ran the new Dell-based [Microsoft SQL Server SSD appliance] system, we were amazed by the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ramatic improvement in performance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. . we could no longer go back to the old system.”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“We have seen that Dell is proactive in proposing new products and technologies. Even if we are one of the first companies to adopt a new technology, we can do so safe in the knowledge that Dell offers outstanding support.”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− </a:t>
            </a:r>
            <a:r>
              <a:rPr kumimoji="0" lang="en-US" sz="2400" b="0" i="1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asumitsu</a:t>
            </a: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b="0" i="1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rimoto</a:t>
            </a: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the manager of the Web Solution Development Department at </a:t>
            </a:r>
            <a:r>
              <a:rPr kumimoji="0" lang="en-US" sz="2400" b="0" i="1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ynatech</a:t>
            </a:r>
            <a:endParaRPr kumimoji="0" lang="en-US" sz="24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237" y="-36045"/>
            <a:ext cx="3550355" cy="7151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909686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14000">
                <a:schemeClr val="tx1">
                  <a:lumMod val="75000"/>
                  <a:alpha val="0"/>
                </a:schemeClr>
              </a:gs>
              <a:gs pos="62000">
                <a:schemeClr val="bg2">
                  <a:alpha val="99000"/>
                </a:schemeClr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88801" y="2567165"/>
            <a:ext cx="6339036" cy="147411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0" cap="none" baseline="0">
                <a:solidFill>
                  <a:schemeClr val="bg1"/>
                </a:solidFill>
                <a:latin typeface="Arial" panose="020B0604020202020204" pitchFamily="34" charset="0"/>
                <a:ea typeface="Museo Sans For Dell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24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useo Sans For Dell" panose="02000000000000000000" pitchFamily="2" charset="0"/>
                <a:cs typeface="Arial" panose="020B0604020202020204" pitchFamily="34" charset="0"/>
              </a:rPr>
              <a:t>Dell EMC Hybrid Cloud System Momentum</a:t>
            </a:r>
            <a:endParaRPr kumimoji="0" lang="en-US" sz="462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useo Sans For Dell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075237" y="1363662"/>
            <a:ext cx="4038600" cy="4648200"/>
            <a:chOff x="1994805" y="985445"/>
            <a:chExt cx="2501885" cy="3284803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4805" y="1097280"/>
              <a:ext cx="2501885" cy="3172968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3862" y="985445"/>
              <a:ext cx="593052" cy="5930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13713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74000" y="74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8427E-6 4.41217E-6 L 0.27675 -0.00591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37" y="-2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14000">
                <a:schemeClr val="tx1">
                  <a:lumMod val="75000"/>
                  <a:alpha val="0"/>
                </a:schemeClr>
              </a:gs>
              <a:gs pos="62000">
                <a:schemeClr val="bg2">
                  <a:alpha val="99000"/>
                </a:schemeClr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6599237" y="3431158"/>
            <a:ext cx="648" cy="1001132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599237" y="4992994"/>
            <a:ext cx="0" cy="942668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599237" y="2201862"/>
            <a:ext cx="0" cy="713169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9" name="Picture 2" descr="C:\Users\brent_doncaster\Documents\Master Graphics 2014\Microsoft_Hybrid_Cloud_System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031" y="3029221"/>
            <a:ext cx="2301097" cy="3228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Rectangle 66"/>
          <p:cNvSpPr/>
          <p:nvPr/>
        </p:nvSpPr>
        <p:spPr>
          <a:xfrm>
            <a:off x="405998" y="3172491"/>
            <a:ext cx="1722868" cy="8644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Co-engineered </a:t>
            </a: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for 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fast time to value</a:t>
            </a:r>
            <a:endParaRPr kumimoji="0" lang="en-US" sz="1938" b="0" i="0" u="none" strike="noStrike" kern="0" cap="none" spc="0" normalizeH="0" baseline="0" noProof="0" dirty="0">
              <a:ln>
                <a:noFill/>
              </a:ln>
              <a:solidFill>
                <a:srgbClr val="0085C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034537" y="4585057"/>
            <a:ext cx="1478670" cy="1456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Near Zero Risk </a:t>
            </a:r>
            <a:r>
              <a:rPr kumimoji="0" lang="en-US" sz="193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with 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Cloud Flex Pay</a:t>
            </a:r>
            <a:endParaRPr kumimoji="0" lang="en-US" sz="1632" b="0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0" b="1" i="0" u="none" strike="noStrike" kern="0" cap="none" spc="0" normalizeH="0" baseline="0" noProof="0" dirty="0">
              <a:ln>
                <a:noFill/>
              </a:ln>
              <a:solidFill>
                <a:srgbClr val="0085C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73922" y="4585051"/>
            <a:ext cx="1722868" cy="11206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Confidence </a:t>
            </a: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in</a:t>
            </a: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 </a:t>
            </a: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native</a:t>
            </a: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 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data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Trebuchet MS" panose="020B0603020202020204" pitchFamily="34" charset="0"/>
              </a:rPr>
              <a:t> 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protection, </a:t>
            </a: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local to cloud</a:t>
            </a:r>
            <a:endParaRPr kumimoji="0" lang="en-US" sz="153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053682" y="3172170"/>
            <a:ext cx="1478670" cy="10566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</a:rPr>
              <a:t>Control </a:t>
            </a: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your cloud as a single system</a:t>
            </a:r>
            <a:endParaRPr kumimoji="0" lang="en-US" sz="1530" b="0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0" b="1" i="0" u="none" strike="noStrike" kern="0" cap="none" spc="0" normalizeH="0" baseline="0" noProof="0" dirty="0">
              <a:ln>
                <a:noFill/>
              </a:ln>
              <a:solidFill>
                <a:srgbClr val="0085C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71" name="Title 1"/>
          <p:cNvSpPr>
            <a:spLocks noGrp="1"/>
          </p:cNvSpPr>
          <p:nvPr>
            <p:ph type="title"/>
          </p:nvPr>
        </p:nvSpPr>
        <p:spPr>
          <a:xfrm>
            <a:off x="373922" y="287747"/>
            <a:ext cx="11370854" cy="870430"/>
          </a:xfrm>
          <a:solidFill>
            <a:schemeClr val="bg2">
              <a:alpha val="40000"/>
            </a:schemeClr>
          </a:solidFill>
        </p:spPr>
        <p:txBody>
          <a:bodyPr>
            <a:noAutofit/>
          </a:bodyPr>
          <a:lstStyle/>
          <a:p>
            <a:r>
              <a:rPr lang="en-US" sz="3264" dirty="0">
                <a:solidFill>
                  <a:schemeClr val="tx2"/>
                </a:solidFill>
                <a:latin typeface="Trebuchet MS" panose="020B0603020202020204" pitchFamily="34" charset="0"/>
              </a:rPr>
              <a:t>Dell EMC Hybrid Cloud System for Microsoft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05999" y="789715"/>
            <a:ext cx="11034842" cy="395454"/>
          </a:xfrm>
          <a:prstGeom prst="rect">
            <a:avLst/>
          </a:prstGeom>
          <a:noFill/>
        </p:spPr>
        <p:txBody>
          <a:bodyPr wrap="square" lIns="93224" tIns="46628" rIns="93224" bIns="46628" rtlCol="0">
            <a:spAutoFit/>
          </a:bodyPr>
          <a:lstStyle/>
          <a:p>
            <a:pPr marL="0" marR="0" lvl="0" indent="0" defTabSz="932180" eaLnBrk="1" fontAlgn="auto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Industry’s first </a:t>
            </a:r>
            <a:r>
              <a:rPr kumimoji="0" lang="en-US" sz="214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</a:rPr>
              <a:t>integrated system with Microsoft Cloud Platform System Standard</a:t>
            </a:r>
          </a:p>
        </p:txBody>
      </p:sp>
      <p:sp>
        <p:nvSpPr>
          <p:cNvPr id="73" name="Content Placeholder 43"/>
          <p:cNvSpPr txBox="1">
            <a:spLocks/>
          </p:cNvSpPr>
          <p:nvPr/>
        </p:nvSpPr>
        <p:spPr bwMode="auto">
          <a:xfrm>
            <a:off x="6871617" y="2138643"/>
            <a:ext cx="5002563" cy="426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9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  <a:lvl2pPr marL="763837" indent="-30891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 baseline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2pPr>
            <a:lvl3pPr marL="1212400" indent="-294099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300" baseline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3pPr>
            <a:lvl4pPr marL="1660964" indent="-29621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300" baseline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4pPr>
            <a:lvl5pPr marL="2143384" indent="-315264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For Dell 300" pitchFamily="50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752762" indent="-315264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2400">
                <a:solidFill>
                  <a:schemeClr val="accent1"/>
                </a:solidFill>
                <a:latin typeface="+mn-lt"/>
              </a:defRPr>
            </a:lvl6pPr>
            <a:lvl7pPr marL="3362124" indent="-315264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2400">
                <a:solidFill>
                  <a:schemeClr val="accent1"/>
                </a:solidFill>
                <a:latin typeface="+mn-lt"/>
              </a:defRPr>
            </a:lvl7pPr>
            <a:lvl8pPr marL="3971487" indent="-315264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2400">
                <a:solidFill>
                  <a:schemeClr val="accent1"/>
                </a:solidFill>
                <a:latin typeface="+mn-lt"/>
              </a:defRPr>
            </a:lvl8pPr>
            <a:lvl9pPr marL="4580864" indent="-315264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2400">
                <a:solidFill>
                  <a:schemeClr val="accent1"/>
                </a:solidFill>
                <a:latin typeface="+mn-lt"/>
              </a:defRPr>
            </a:lvl9pPr>
          </a:lstStyle>
          <a:p>
            <a:pPr marL="0" marR="0" lvl="0" indent="0" algn="l" defTabSz="932504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Simplify hybrid cloud &amp; redefine agility</a:t>
            </a:r>
          </a:p>
          <a:p>
            <a:pPr marL="0" marR="0" lvl="0" indent="-315144" algn="l" defTabSz="932504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93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Go from zero to </a:t>
            </a:r>
            <a:r>
              <a:rPr kumimoji="0" lang="en-US" sz="1938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hybrid cloud in under 3 hours</a:t>
            </a:r>
            <a:endParaRPr kumimoji="0" lang="en-US" sz="1938" b="0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rebuchet MS" panose="020B0603020202020204" pitchFamily="34" charset="0"/>
              <a:ea typeface="Museo Sans For Dell" pitchFamily="2" charset="0"/>
              <a:cs typeface="+mn-cs"/>
            </a:endParaRPr>
          </a:p>
          <a:p>
            <a:pPr marL="0" marR="0" lvl="0" indent="-315144" algn="l" defTabSz="932504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938" b="1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Trebuchet MS" panose="020B0603020202020204" pitchFamily="34" charset="0"/>
              <a:ea typeface="Museo Sans For Dell" pitchFamily="2" charset="0"/>
              <a:cs typeface="+mn-cs"/>
            </a:endParaRPr>
          </a:p>
          <a:p>
            <a:pPr marL="0" marR="0" lvl="0" indent="0" algn="l" defTabSz="932480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Radically reduce investment risk</a:t>
            </a:r>
          </a:p>
          <a:p>
            <a:pPr marL="0" marR="0" lvl="0" indent="-315136" algn="l" defTabSz="932480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14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Extend </a:t>
            </a: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utility-based consumption</a:t>
            </a:r>
            <a:r>
              <a:rPr kumimoji="0" lang="en-US" sz="214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 models, be assured with a future-ready solution</a:t>
            </a:r>
          </a:p>
          <a:p>
            <a:pPr marL="0" marR="0" lvl="0" indent="0" algn="l" defTabSz="932504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142" b="0" i="0" u="none" strike="noStrike" kern="0" cap="none" spc="0" normalizeH="0" baseline="0" noProof="0" dirty="0">
              <a:ln>
                <a:noFill/>
              </a:ln>
              <a:solidFill>
                <a:srgbClr val="0085C3"/>
              </a:solidFill>
              <a:effectLst/>
              <a:uLnTx/>
              <a:uFillTx/>
              <a:latin typeface="Trebuchet MS" panose="020B0603020202020204" pitchFamily="34" charset="0"/>
              <a:ea typeface="Museo Sans For Dell" pitchFamily="2" charset="0"/>
              <a:cs typeface="+mn-cs"/>
            </a:endParaRPr>
          </a:p>
          <a:p>
            <a:pPr marL="0" marR="0" lvl="0" indent="0" algn="l" defTabSz="932480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rgbClr val="0085C3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Re-assert control</a:t>
            </a:r>
          </a:p>
          <a:p>
            <a:pPr marL="0" marR="0" lvl="0" indent="-315136" algn="l" defTabSz="932480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14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Integrated </a:t>
            </a: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Azure consistency and Azure services </a:t>
            </a:r>
            <a:r>
              <a:rPr kumimoji="0" lang="en-US" sz="214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for business </a:t>
            </a:r>
            <a:r>
              <a:rPr kumimoji="0" lang="en-US" sz="2142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rebuchet MS" panose="020B0603020202020204" pitchFamily="34" charset="0"/>
                <a:ea typeface="Museo Sans For Dell" pitchFamily="2" charset="0"/>
                <a:cs typeface="+mn-cs"/>
              </a:rPr>
              <a:t>continuity</a:t>
            </a:r>
          </a:p>
          <a:p>
            <a:pPr marL="0" marR="0" lvl="0" indent="0" algn="l" defTabSz="932504" rtl="0" eaLnBrk="1" fontAlgn="base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>
                <a:srgbClr val="0085C3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142" b="0" i="0" u="none" strike="noStrike" kern="0" cap="none" spc="0" normalizeH="0" baseline="0" noProof="0" dirty="0">
              <a:ln>
                <a:noFill/>
              </a:ln>
              <a:solidFill>
                <a:srgbClr val="0085C3"/>
              </a:solidFill>
              <a:effectLst/>
              <a:uLnTx/>
              <a:uFillTx/>
              <a:latin typeface="Trebuchet MS" panose="020B0603020202020204" pitchFamily="34" charset="0"/>
              <a:ea typeface="Museo Sans For Dell" pitchFamily="2" charset="0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69602" y="6616236"/>
            <a:ext cx="1165927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ans For Dell"/>
              </a:rPr>
              <a:t>Under 3 hours Based on testing in Dell’s engineering labs and only covers the set up Cloud Platform Systems Standard softwa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772" y="2138643"/>
            <a:ext cx="1653614" cy="512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660391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14000">
                <a:schemeClr val="tx1">
                  <a:lumMod val="75000"/>
                  <a:alpha val="0"/>
                </a:schemeClr>
              </a:gs>
              <a:gs pos="62000">
                <a:schemeClr val="bg2">
                  <a:alpha val="99000"/>
                </a:schemeClr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883" y="3573462"/>
            <a:ext cx="12437358" cy="2501114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4" name="Picture 2" descr="https://upload.wikimedia.org/wikipedia/en/thumb/0/03/Redlands_city_council.svg/829px-Redlands_city_council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553" y="4015192"/>
            <a:ext cx="564465" cy="69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 descr="http://www.stjobs.sg/loadfile/get/f/aOvs4qWVjNTUm9DenFxbW1xc5qPPmtbV296S3ZTlnJ-naKXi29lfl6GlnWPKl6lebWhsbKOlnmKbmqSTl9vM8dd22b9a0b3ee86162f1d0e42ee00f4e/44008981f93edd1185a0d1b72439de3b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319" y="5306683"/>
            <a:ext cx="1535711" cy="493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7" descr="http://www.shinjiru.com/images/layout/shinjiru_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431" y="3839295"/>
            <a:ext cx="1505728" cy="713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5" descr="http://www.studentcolloquium.nl/2015/images/logo_capgemini_blu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259" y="3908942"/>
            <a:ext cx="1697735" cy="63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1" descr="http://s3-ap-southeast-2.amazonaws.com/production-oms/gtr-uploads/servicefirst_logo-300x9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55" y="5225782"/>
            <a:ext cx="2352727" cy="705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7" descr="http://www.insomniafestival.no/wp-content/uploads/2010/06/TFLK_rgb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6918" y="5150593"/>
            <a:ext cx="2249876" cy="753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9" descr="https://www.greaterzuricharea.com/fileadmin/_processed_/csm_GLKB_Logo_CMYK_3646d5b592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5290" y="4036598"/>
            <a:ext cx="2163128" cy="42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1" descr="http://www.cloudcomputingintelligence.com/media/k2/items/cache/576634a42c4a68b90d534f03316d9d02_XL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06954" y="5150593"/>
            <a:ext cx="1681167" cy="50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97" y="4667676"/>
            <a:ext cx="1338053" cy="83026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2634" y="4353035"/>
            <a:ext cx="1047750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9847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638" y="1209973"/>
            <a:ext cx="8228299" cy="2179058"/>
          </a:xfrm>
        </p:spPr>
        <p:txBody>
          <a:bodyPr/>
          <a:lstStyle/>
          <a:p>
            <a:r>
              <a:rPr lang="en-US" dirty="0"/>
              <a:t>Rogers Communica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74638" y="3954463"/>
            <a:ext cx="8915399" cy="1625060"/>
          </a:xfrm>
        </p:spPr>
        <p:txBody>
          <a:bodyPr/>
          <a:lstStyle/>
          <a:p>
            <a:r>
              <a:rPr lang="en-US" dirty="0"/>
              <a:t>Hani Mousa</a:t>
            </a:r>
          </a:p>
          <a:p>
            <a:r>
              <a:rPr lang="en-US" dirty="0"/>
              <a:t>Sr. Manager, Infrastructure Solutions Architecture</a:t>
            </a:r>
          </a:p>
        </p:txBody>
      </p:sp>
    </p:spTree>
    <p:extLst>
      <p:ext uri="{BB962C8B-B14F-4D97-AF65-F5344CB8AC3E}">
        <p14:creationId xmlns:p14="http://schemas.microsoft.com/office/powerpoint/2010/main" val="70233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24000">
                <a:schemeClr val="tx1">
                  <a:lumMod val="75000"/>
                  <a:alpha val="2000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10" name="Picture 9" descr="EMC logo white_300dpi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711" y="2724242"/>
            <a:ext cx="2175764" cy="70224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833" y="2482816"/>
            <a:ext cx="1235440" cy="123544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594778" y="3912361"/>
            <a:ext cx="3303551" cy="1900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7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Times New Roman"/>
              </a:rPr>
              <a:t>The world’s most    value-focused global       supply chain providing technology infrastructure for organizations            of all sizes</a:t>
            </a:r>
            <a:endParaRPr kumimoji="0" lang="en-US" sz="217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656275" y="3912360"/>
            <a:ext cx="3416639" cy="1900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7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Times New Roman"/>
              </a:rPr>
              <a:t>The world’s leading data center innovation engine with cutting-edge enterprise infrastructure for the most demanding environments</a:t>
            </a:r>
          </a:p>
        </p:txBody>
      </p:sp>
    </p:spTree>
    <p:extLst>
      <p:ext uri="{BB962C8B-B14F-4D97-AF65-F5344CB8AC3E}">
        <p14:creationId xmlns:p14="http://schemas.microsoft.com/office/powerpoint/2010/main" val="354744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gers Communication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3" r="13863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74639" y="1322386"/>
            <a:ext cx="5486400" cy="5451475"/>
          </a:xfrm>
        </p:spPr>
        <p:txBody>
          <a:bodyPr/>
          <a:lstStyle/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sz="2000" b="1" dirty="0">
                <a:latin typeface="+mn-lt"/>
              </a:rPr>
              <a:t>Wireless:</a:t>
            </a:r>
            <a:r>
              <a:rPr lang="en-CA" sz="2000" dirty="0">
                <a:latin typeface="+mn-lt"/>
              </a:rPr>
              <a:t> Largest provider of </a:t>
            </a:r>
            <a:r>
              <a:rPr lang="en-CA" sz="2000" dirty="0"/>
              <a:t>v</a:t>
            </a:r>
            <a:r>
              <a:rPr lang="en-CA" sz="2000" dirty="0">
                <a:latin typeface="+mn-lt"/>
              </a:rPr>
              <a:t>oice &amp; data reaching 93% of Canadians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sz="2000" b="1" dirty="0">
                <a:latin typeface="+mn-lt"/>
              </a:rPr>
              <a:t>Cable:</a:t>
            </a:r>
            <a:r>
              <a:rPr lang="en-CA" sz="2000" dirty="0">
                <a:latin typeface="+mn-lt"/>
              </a:rPr>
              <a:t> Leading Cable Service Provider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sz="2000" b="1" dirty="0">
                <a:latin typeface="+mn-lt"/>
              </a:rPr>
              <a:t>Business Solutions</a:t>
            </a:r>
            <a:r>
              <a:rPr lang="en-CA" sz="2000" dirty="0">
                <a:latin typeface="+mn-lt"/>
              </a:rPr>
              <a:t>: Carrier-grade business telecom, networking, hosting and managed data services, IP connectivity and solutions 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sz="2000" b="1" dirty="0">
                <a:latin typeface="+mn-lt"/>
              </a:rPr>
              <a:t>Media:</a:t>
            </a:r>
            <a:r>
              <a:rPr lang="en-CA" sz="2000" dirty="0">
                <a:latin typeface="+mn-lt"/>
              </a:rPr>
              <a:t> Category-leading sports entertainment, digital media, television and radio broadcasting and publishing properties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sz="2000" b="1" dirty="0">
                <a:latin typeface="+mn-lt"/>
              </a:rPr>
              <a:t>Own</a:t>
            </a:r>
            <a:r>
              <a:rPr lang="en-CA" sz="2000" b="1">
                <a:latin typeface="+mn-lt"/>
              </a:rPr>
              <a:t>: </a:t>
            </a:r>
            <a:r>
              <a:rPr lang="en-CA" sz="2000"/>
              <a:t>Toronto Blue Jays Baseball Club, the Rogers Centre, </a:t>
            </a:r>
            <a:r>
              <a:rPr lang="en-CA" sz="2000">
                <a:solidFill>
                  <a:schemeClr val="tx2"/>
                </a:solidFill>
              </a:rPr>
              <a:t>The Grand Slam of Curling, </a:t>
            </a:r>
            <a:r>
              <a:rPr lang="en-CA" sz="2000"/>
              <a:t>and partially owns the Toronto Maple Leafs, the Toronto Raptors and Toronto FC</a:t>
            </a:r>
            <a:endParaRPr lang="en-CA" sz="20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Canada’s dynamic</a:t>
            </a:r>
            <a:r>
              <a:rPr lang="en-US" dirty="0"/>
              <a:t> communications and media company</a:t>
            </a:r>
          </a:p>
        </p:txBody>
      </p:sp>
    </p:spTree>
    <p:extLst>
      <p:ext uri="{BB962C8B-B14F-4D97-AF65-F5344CB8AC3E}">
        <p14:creationId xmlns:p14="http://schemas.microsoft.com/office/powerpoint/2010/main" val="22300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ur Journey to the Hybrid Cloud</a:t>
            </a:r>
          </a:p>
        </p:txBody>
      </p:sp>
      <p:sp>
        <p:nvSpPr>
          <p:cNvPr id="4" name="Freeform 3"/>
          <p:cNvSpPr/>
          <p:nvPr/>
        </p:nvSpPr>
        <p:spPr>
          <a:xfrm>
            <a:off x="2204408" y="2338629"/>
            <a:ext cx="1629014" cy="979225"/>
          </a:xfrm>
          <a:custGeom>
            <a:avLst/>
            <a:gdLst>
              <a:gd name="connsiteX0" fmla="*/ 0 w 3577257"/>
              <a:gd name="connsiteY0" fmla="*/ 355078 h 2130424"/>
              <a:gd name="connsiteX1" fmla="*/ 355078 w 3577257"/>
              <a:gd name="connsiteY1" fmla="*/ 0 h 2130424"/>
              <a:gd name="connsiteX2" fmla="*/ 3222179 w 3577257"/>
              <a:gd name="connsiteY2" fmla="*/ 0 h 2130424"/>
              <a:gd name="connsiteX3" fmla="*/ 3577257 w 3577257"/>
              <a:gd name="connsiteY3" fmla="*/ 355078 h 2130424"/>
              <a:gd name="connsiteX4" fmla="*/ 3577257 w 3577257"/>
              <a:gd name="connsiteY4" fmla="*/ 1775346 h 2130424"/>
              <a:gd name="connsiteX5" fmla="*/ 3222179 w 3577257"/>
              <a:gd name="connsiteY5" fmla="*/ 2130424 h 2130424"/>
              <a:gd name="connsiteX6" fmla="*/ 355078 w 3577257"/>
              <a:gd name="connsiteY6" fmla="*/ 2130424 h 2130424"/>
              <a:gd name="connsiteX7" fmla="*/ 0 w 3577257"/>
              <a:gd name="connsiteY7" fmla="*/ 1775346 h 2130424"/>
              <a:gd name="connsiteX8" fmla="*/ 0 w 3577257"/>
              <a:gd name="connsiteY8" fmla="*/ 355078 h 2130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77257" h="2130424">
                <a:moveTo>
                  <a:pt x="0" y="355078"/>
                </a:moveTo>
                <a:cubicBezTo>
                  <a:pt x="0" y="158974"/>
                  <a:pt x="158974" y="0"/>
                  <a:pt x="355078" y="0"/>
                </a:cubicBezTo>
                <a:lnTo>
                  <a:pt x="3222179" y="0"/>
                </a:lnTo>
                <a:cubicBezTo>
                  <a:pt x="3418283" y="0"/>
                  <a:pt x="3577257" y="158974"/>
                  <a:pt x="3577257" y="355078"/>
                </a:cubicBezTo>
                <a:lnTo>
                  <a:pt x="3577257" y="1775346"/>
                </a:lnTo>
                <a:cubicBezTo>
                  <a:pt x="3577257" y="1971450"/>
                  <a:pt x="3418283" y="2130424"/>
                  <a:pt x="3222179" y="2130424"/>
                </a:cubicBezTo>
                <a:lnTo>
                  <a:pt x="355078" y="2130424"/>
                </a:lnTo>
                <a:cubicBezTo>
                  <a:pt x="158974" y="2130424"/>
                  <a:pt x="0" y="1971450"/>
                  <a:pt x="0" y="1775346"/>
                </a:cubicBezTo>
                <a:lnTo>
                  <a:pt x="0" y="3550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172918" tIns="172918" rIns="172918" bIns="172918" numCol="1" spcCol="1270" anchor="ctr" anchorCtr="0">
            <a:noAutofit/>
          </a:bodyPr>
          <a:lstStyle/>
          <a:p>
            <a:pPr marL="0" marR="0" lvl="0" indent="0" defTabSz="82791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1" b="1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Integrated  Application Systems</a:t>
            </a:r>
            <a:r>
              <a:rPr kumimoji="0" lang="en-US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 </a:t>
            </a:r>
          </a:p>
          <a:p>
            <a:pPr marL="171450" marR="0" lvl="0" indent="-171450" defTabSz="82791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VDI</a:t>
            </a:r>
          </a:p>
          <a:p>
            <a:pPr marL="171450" marR="0" lvl="0" indent="-171450" defTabSz="82791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Oracle DBaaS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 flipH="1" flipV="1">
            <a:off x="918846" y="1640787"/>
            <a:ext cx="33616" cy="4665646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6" name="Straight Arrow Connector 5"/>
          <p:cNvCxnSpPr/>
          <p:nvPr/>
        </p:nvCxnSpPr>
        <p:spPr>
          <a:xfrm flipV="1">
            <a:off x="952460" y="6302557"/>
            <a:ext cx="9353240" cy="3874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3608038" y="6306099"/>
            <a:ext cx="3159803" cy="315363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0" marR="0" lvl="0" indent="0" algn="ctr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93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Technical Evolution</a:t>
            </a:r>
          </a:p>
        </p:txBody>
      </p:sp>
      <p:sp>
        <p:nvSpPr>
          <p:cNvPr id="8" name="TextBox 7"/>
          <p:cNvSpPr txBox="1"/>
          <p:nvPr/>
        </p:nvSpPr>
        <p:spPr>
          <a:xfrm rot="16200000">
            <a:off x="-741896" y="3667022"/>
            <a:ext cx="3110431" cy="315363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0" marR="0" lvl="0" indent="0" algn="ctr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93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Business Evolu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1254993" y="5611548"/>
            <a:ext cx="1476377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2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Traditional</a:t>
            </a:r>
          </a:p>
        </p:txBody>
      </p:sp>
      <p:sp>
        <p:nvSpPr>
          <p:cNvPr id="10" name="Rectangle 9"/>
          <p:cNvSpPr/>
          <p:nvPr/>
        </p:nvSpPr>
        <p:spPr>
          <a:xfrm>
            <a:off x="3002969" y="4916665"/>
            <a:ext cx="1122369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Consolida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74766" y="4916665"/>
            <a:ext cx="1278011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Virtualiz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136598" y="3800772"/>
            <a:ext cx="1640246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2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Private Cloud – Generic Workload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872" y="2589513"/>
            <a:ext cx="1846904" cy="1207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996" y="4286328"/>
            <a:ext cx="1945128" cy="1138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wn Arrow 14"/>
          <p:cNvSpPr/>
          <p:nvPr/>
        </p:nvSpPr>
        <p:spPr>
          <a:xfrm rot="13189943">
            <a:off x="3991974" y="4253056"/>
            <a:ext cx="105876" cy="742450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16" name="Down Arrow 15"/>
          <p:cNvSpPr/>
          <p:nvPr/>
        </p:nvSpPr>
        <p:spPr>
          <a:xfrm rot="13740000">
            <a:off x="2801856" y="5335428"/>
            <a:ext cx="105876" cy="344879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17" name="Down Arrow 16"/>
          <p:cNvSpPr/>
          <p:nvPr/>
        </p:nvSpPr>
        <p:spPr>
          <a:xfrm rot="16200000">
            <a:off x="4303856" y="4977933"/>
            <a:ext cx="105876" cy="388209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516273" y="3361448"/>
            <a:ext cx="1689241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2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Hybrid Cloud</a:t>
            </a:r>
          </a:p>
        </p:txBody>
      </p:sp>
      <p:sp>
        <p:nvSpPr>
          <p:cNvPr id="19" name="Down Arrow 18"/>
          <p:cNvSpPr/>
          <p:nvPr/>
        </p:nvSpPr>
        <p:spPr>
          <a:xfrm rot="10800000">
            <a:off x="5139957" y="4286849"/>
            <a:ext cx="105876" cy="599960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20" name="Down Arrow 19"/>
          <p:cNvSpPr/>
          <p:nvPr/>
        </p:nvSpPr>
        <p:spPr>
          <a:xfrm rot="15606161">
            <a:off x="6579083" y="2949872"/>
            <a:ext cx="128016" cy="1660982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506665" y="4155601"/>
            <a:ext cx="1698848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2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 Cloud &amp; Cloud Bursting</a:t>
            </a:r>
          </a:p>
        </p:txBody>
      </p:sp>
      <p:sp>
        <p:nvSpPr>
          <p:cNvPr id="22" name="Down Arrow 21"/>
          <p:cNvSpPr/>
          <p:nvPr/>
        </p:nvSpPr>
        <p:spPr>
          <a:xfrm rot="10800000">
            <a:off x="8319150" y="3824704"/>
            <a:ext cx="105876" cy="297807"/>
          </a:xfrm>
          <a:prstGeom prst="downArrow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sp>
        <p:nvSpPr>
          <p:cNvPr id="23" name="Down Arrow 22"/>
          <p:cNvSpPr/>
          <p:nvPr/>
        </p:nvSpPr>
        <p:spPr>
          <a:xfrm rot="16800000">
            <a:off x="6591218" y="3535339"/>
            <a:ext cx="139372" cy="1695482"/>
          </a:xfrm>
          <a:prstGeom prst="downArrow">
            <a:avLst>
              <a:gd name="adj1" fmla="val 50000"/>
              <a:gd name="adj2" fmla="val 54562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76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-65" charset="-128"/>
              <a:cs typeface="Arial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720" y="2007277"/>
            <a:ext cx="1815012" cy="1337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020" y="4676276"/>
            <a:ext cx="2330936" cy="14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Chevron 25"/>
          <p:cNvSpPr/>
          <p:nvPr>
            <p:custDataLst>
              <p:tags r:id="rId1"/>
            </p:custDataLst>
          </p:nvPr>
        </p:nvSpPr>
        <p:spPr>
          <a:xfrm>
            <a:off x="2996560" y="1525455"/>
            <a:ext cx="7309140" cy="362314"/>
          </a:xfrm>
          <a:prstGeom prst="chevron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8478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105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Infrastructure Transformation Capabilities (IaaS &amp; PaaS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88804" y="1909967"/>
            <a:ext cx="2649934" cy="357105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0" marR="0" lvl="0" indent="0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764" b="0" i="1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Capabilities Evolu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144816" y="6065998"/>
            <a:ext cx="2119184" cy="236559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0" marR="0" lvl="0" indent="0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Built for Purpose workload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292435" y="5476867"/>
            <a:ext cx="2386659" cy="400322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172231" marR="0" lvl="0" indent="-172231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Renewal / Re-Platforming</a:t>
            </a:r>
          </a:p>
          <a:p>
            <a:pPr marL="172231" marR="0" lvl="0" indent="-172231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Consolidation &amp; Virtualiz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96812" y="6065998"/>
            <a:ext cx="2572077" cy="236559"/>
          </a:xfrm>
          <a:prstGeom prst="rect">
            <a:avLst/>
          </a:prstGeom>
          <a:noFill/>
        </p:spPr>
        <p:txBody>
          <a:bodyPr wrap="square" lIns="84791" tIns="42396" rIns="84791" bIns="42396" rtlCol="0">
            <a:spAutoFit/>
          </a:bodyPr>
          <a:lstStyle/>
          <a:p>
            <a:pPr marL="0" marR="0" lvl="0" indent="0" defTabSz="448156" eaLnBrk="1" fontAlgn="auto" latinLnBrk="0" hangingPunct="1">
              <a:lnSpc>
                <a:spcPct val="10000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81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Hosting Placement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29501" y="3372211"/>
            <a:ext cx="1598899" cy="4632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4791" tIns="42396" rIns="84791" bIns="42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481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2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-65" charset="-128"/>
                <a:cs typeface="Arial"/>
              </a:rPr>
              <a:t>Private Cloud – Specialized Workload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3835845" y="3585959"/>
            <a:ext cx="260188" cy="211989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Chevron 32"/>
          <p:cNvSpPr/>
          <p:nvPr>
            <p:custDataLst>
              <p:tags r:id="rId2"/>
            </p:custDataLst>
          </p:nvPr>
        </p:nvSpPr>
        <p:spPr>
          <a:xfrm>
            <a:off x="968730" y="1525455"/>
            <a:ext cx="2304143" cy="362314"/>
          </a:xfrm>
          <a:prstGeom prst="chevron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8478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105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Current State Capabilities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026936" y="2385624"/>
            <a:ext cx="177470" cy="1449843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aS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5852778" y="2540406"/>
            <a:ext cx="193326" cy="120693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IaaS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6110667" y="2543397"/>
            <a:ext cx="182619" cy="120839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aS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6345824" y="2554114"/>
            <a:ext cx="810485" cy="521946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MWaaS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6340598" y="3118617"/>
            <a:ext cx="810485" cy="521946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Baa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9452855" y="3200747"/>
            <a:ext cx="190806" cy="153026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IaaS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9802240" y="3200747"/>
            <a:ext cx="177617" cy="1530266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a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0118801" y="3193826"/>
            <a:ext cx="186899" cy="1530266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Saa</a:t>
            </a:r>
            <a:r>
              <a: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9388061" y="2637504"/>
            <a:ext cx="943653" cy="521946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nsid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HA/DR</a:t>
            </a:r>
          </a:p>
        </p:txBody>
      </p:sp>
    </p:spTree>
    <p:extLst>
      <p:ext uri="{BB962C8B-B14F-4D97-AF65-F5344CB8AC3E}">
        <p14:creationId xmlns:p14="http://schemas.microsoft.com/office/powerpoint/2010/main" val="332351575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6523037" y="1897062"/>
            <a:ext cx="5486399" cy="3841052"/>
          </a:xfrm>
        </p:spPr>
        <p:txBody>
          <a:bodyPr/>
          <a:lstStyle/>
          <a:p>
            <a:r>
              <a:rPr lang="en-US" dirty="0"/>
              <a:t>Virtual Desktop Infrastructure (VDI) Proof of Concept</a:t>
            </a:r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2" r="3972"/>
          <a:stretch>
            <a:fillRect/>
          </a:stretch>
        </p:blipFill>
        <p:spPr>
          <a:xfrm>
            <a:off x="25984" y="-3927"/>
            <a:ext cx="6216650" cy="6992587"/>
          </a:xfrm>
        </p:spPr>
      </p:pic>
    </p:spTree>
    <p:extLst>
      <p:ext uri="{BB962C8B-B14F-4D97-AF65-F5344CB8AC3E}">
        <p14:creationId xmlns:p14="http://schemas.microsoft.com/office/powerpoint/2010/main" val="9601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: Consider Converged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18" b="6318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0" y="1432715"/>
            <a:ext cx="5761037" cy="5262007"/>
          </a:xfrm>
        </p:spPr>
        <p:txBody>
          <a:bodyPr/>
          <a:lstStyle/>
          <a:p>
            <a:pPr marL="468538"/>
            <a:r>
              <a:rPr lang="en-CA" b="1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Arial" panose="020B0604020202020204" pitchFamily="34" charset="0"/>
              </a:rPr>
              <a:t>Decision making factors</a:t>
            </a:r>
          </a:p>
          <a:p>
            <a:pPr marL="925738" indent="-4572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Arial" panose="020B0604020202020204" pitchFamily="34" charset="0"/>
              </a:rPr>
              <a:t>Integration with current Microsoft technologies, e.g. Skype for Business, System Center Configuration Manager, Azure and Active Directory</a:t>
            </a:r>
          </a:p>
          <a:p>
            <a:pPr marL="925738" indent="-4572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Arial" panose="020B0604020202020204" pitchFamily="34" charset="0"/>
              </a:rPr>
              <a:t>Scalability and cloud bursting to Azure </a:t>
            </a:r>
          </a:p>
          <a:p>
            <a:pPr marL="925738" indent="-4572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Arial" panose="020B0604020202020204" pitchFamily="34" charset="0"/>
              </a:rPr>
              <a:t>Citrix VDI solution on Microsoft Hyper-V expected to support 5000 users in the next 2-3 year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ider Converged,  </a:t>
            </a:r>
            <a:r>
              <a:rPr lang="en-US" dirty="0" err="1"/>
              <a:t>Hyperconverged</a:t>
            </a:r>
            <a:r>
              <a:rPr lang="en-US" dirty="0"/>
              <a:t>, Multi-Vendor</a:t>
            </a:r>
          </a:p>
        </p:txBody>
      </p:sp>
    </p:spTree>
    <p:extLst>
      <p:ext uri="{BB962C8B-B14F-4D97-AF65-F5344CB8AC3E}">
        <p14:creationId xmlns:p14="http://schemas.microsoft.com/office/powerpoint/2010/main" val="1528484766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election: Citrix </a:t>
            </a:r>
            <a:r>
              <a:rPr lang="en-CA" dirty="0" err="1"/>
              <a:t>XenDesktop</a:t>
            </a:r>
            <a:r>
              <a:rPr lang="en-CA" dirty="0"/>
              <a:t> on Microsoft Cloud Platform System powered by Del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84637" y="2659062"/>
            <a:ext cx="7772399" cy="3213187"/>
          </a:xfrm>
        </p:spPr>
        <p:txBody>
          <a:bodyPr/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 CPS to ship to Canad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Citrix on CPS globall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apacity to support 1800 us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zure </a:t>
            </a:r>
            <a:r>
              <a:rPr lang="en-US" dirty="0" err="1"/>
              <a:t>on-premise</a:t>
            </a:r>
            <a:r>
              <a:rPr lang="en-US" dirty="0"/>
              <a:t> with extension to public clou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-tenant and self-service private cloud for VDI hosting</a:t>
            </a:r>
          </a:p>
          <a:p>
            <a:pPr marL="742950" lvl="1" indent="-285750"/>
            <a:r>
              <a:rPr lang="en-US" dirty="0"/>
              <a:t>Hardware and solution procurement – 400% faster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-3306763" y="2049462"/>
            <a:ext cx="4038600" cy="4648200"/>
            <a:chOff x="1994805" y="985445"/>
            <a:chExt cx="2501885" cy="328480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4805" y="1097280"/>
              <a:ext cx="2501885" cy="317296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3862" y="985445"/>
              <a:ext cx="593052" cy="5930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13406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74000" y="74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674E-6 -3.70404E-6 L 0.27674 -0.005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37" y="-2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Rogers Experie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274638" y="3500353"/>
            <a:ext cx="11887200" cy="1908215"/>
          </a:xfrm>
        </p:spPr>
        <p:txBody>
          <a:bodyPr/>
          <a:lstStyle/>
          <a:p>
            <a:r>
              <a:rPr lang="en-CA" sz="2800" dirty="0"/>
              <a:t>Very positive with procurement, vendors’ responsiveness and collaboration</a:t>
            </a:r>
          </a:p>
          <a:p>
            <a:r>
              <a:rPr lang="en-CA" sz="2800" dirty="0"/>
              <a:t>Reached capacity in less than a year due to high demand and adoption rate by </a:t>
            </a:r>
            <a:r>
              <a:rPr lang="en-CA" sz="2800" dirty="0" err="1"/>
              <a:t>LoB</a:t>
            </a:r>
            <a:endParaRPr lang="en-CA" sz="2800" dirty="0"/>
          </a:p>
          <a:p>
            <a:r>
              <a:rPr lang="en-CA" sz="2800" dirty="0"/>
              <a:t>Plans to expand either </a:t>
            </a:r>
            <a:r>
              <a:rPr lang="en-CA" sz="2800" dirty="0" err="1"/>
              <a:t>on-premise</a:t>
            </a:r>
            <a:r>
              <a:rPr lang="en-CA" sz="2800" dirty="0"/>
              <a:t> or to Azure public cloud</a:t>
            </a:r>
          </a:p>
        </p:txBody>
      </p:sp>
    </p:spTree>
    <p:extLst>
      <p:ext uri="{BB962C8B-B14F-4D97-AF65-F5344CB8AC3E}">
        <p14:creationId xmlns:p14="http://schemas.microsoft.com/office/powerpoint/2010/main" val="352914790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295274"/>
            <a:ext cx="12436475" cy="83026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Learn more…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4856714"/>
          </a:xfrm>
        </p:spPr>
        <p:txBody>
          <a:bodyPr/>
          <a:lstStyle/>
          <a:p>
            <a:r>
              <a:rPr lang="en-US" sz="2800" dirty="0"/>
              <a:t>Dell EMC booth</a:t>
            </a:r>
          </a:p>
          <a:p>
            <a:pPr lvl="1"/>
            <a:r>
              <a:rPr lang="en-US" sz="2000" dirty="0"/>
              <a:t>Dell EMC Validated Solution for Exchange Server 2016</a:t>
            </a:r>
          </a:p>
          <a:p>
            <a:pPr lvl="1"/>
            <a:r>
              <a:rPr lang="en-US" sz="2000" dirty="0"/>
              <a:t>Dell EMC Validated Solution for SQL Server 2016</a:t>
            </a:r>
          </a:p>
          <a:p>
            <a:pPr lvl="1"/>
            <a:r>
              <a:rPr lang="en-US" sz="2000" dirty="0"/>
              <a:t>Dell EMC Hybrid Cloud System for Microsoft</a:t>
            </a:r>
          </a:p>
          <a:p>
            <a:pPr lvl="1"/>
            <a:r>
              <a:rPr lang="en-US" sz="2000" dirty="0"/>
              <a:t>Azure Services &amp;  CSP with Azure Stack</a:t>
            </a:r>
          </a:p>
          <a:p>
            <a:r>
              <a:rPr lang="en-US" sz="2800" dirty="0"/>
              <a:t>Microsoft booth</a:t>
            </a:r>
          </a:p>
          <a:p>
            <a:pPr lvl="1"/>
            <a:r>
              <a:rPr lang="en-US" sz="2000" dirty="0"/>
              <a:t>DHCS at Hybrid Cloud Platform</a:t>
            </a:r>
          </a:p>
          <a:p>
            <a:pPr lvl="1"/>
            <a:r>
              <a:rPr lang="en-US" sz="2000" dirty="0"/>
              <a:t>Future preview – Azure Stack by Dell EMC</a:t>
            </a:r>
          </a:p>
          <a:p>
            <a:r>
              <a:rPr lang="en-US" sz="2800" dirty="0"/>
              <a:t>Dell EMC Theater</a:t>
            </a:r>
          </a:p>
          <a:p>
            <a:pPr lvl="1"/>
            <a:r>
              <a:rPr lang="en-US" sz="2000" dirty="0"/>
              <a:t>sessions every 30 minutes!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4918269"/>
          </a:xfrm>
        </p:spPr>
        <p:txBody>
          <a:bodyPr/>
          <a:lstStyle/>
          <a:p>
            <a:r>
              <a:rPr lang="en-US" dirty="0"/>
              <a:t>Dell.com</a:t>
            </a:r>
          </a:p>
          <a:p>
            <a:pPr lvl="1"/>
            <a:r>
              <a:rPr lang="en-US" dirty="0">
                <a:hlinkClick r:id="rId3"/>
              </a:rPr>
              <a:t>www.dell.com/dhcs</a:t>
            </a:r>
            <a:endParaRPr lang="en-US" dirty="0"/>
          </a:p>
          <a:p>
            <a:pPr lvl="1"/>
            <a:r>
              <a:rPr lang="en-US" dirty="0">
                <a:hlinkClick r:id="rId4"/>
              </a:rPr>
              <a:t>www.dell.com/exchange</a:t>
            </a:r>
            <a:r>
              <a:rPr lang="en-US" dirty="0"/>
              <a:t> </a:t>
            </a:r>
          </a:p>
          <a:p>
            <a:pPr lvl="1"/>
            <a:r>
              <a:rPr lang="en-US" dirty="0">
                <a:hlinkClick r:id="rId5"/>
              </a:rPr>
              <a:t>www.dell.com/sql</a:t>
            </a:r>
            <a:r>
              <a:rPr lang="en-US" dirty="0"/>
              <a:t> (Validated Solution Q4 availability)</a:t>
            </a:r>
          </a:p>
          <a:p>
            <a:r>
              <a:rPr lang="en-US" dirty="0"/>
              <a:t>Contact Dell EMC</a:t>
            </a:r>
          </a:p>
          <a:p>
            <a:pPr lvl="1"/>
            <a:r>
              <a:rPr lang="en-US" dirty="0"/>
              <a:t>Contact your sales and services representatives about your cloud, unified communications data needs and migration plans</a:t>
            </a:r>
          </a:p>
          <a:p>
            <a:pPr lvl="1"/>
            <a:r>
              <a:rPr lang="en-US" dirty="0"/>
              <a:t>Azure services: </a:t>
            </a:r>
            <a:r>
              <a:rPr lang="en-US" dirty="0">
                <a:hlinkClick r:id="rId6"/>
              </a:rPr>
              <a:t>Get_Azure@dell.com</a:t>
            </a:r>
            <a:r>
              <a:rPr lang="en-US" dirty="0"/>
              <a:t>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0" y="6164262"/>
            <a:ext cx="12436475" cy="83026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effectLst/>
                <a:uLnTx/>
                <a:uFillTx/>
              </a:rPr>
              <a:t>Dell.com/Microsoft</a:t>
            </a:r>
          </a:p>
        </p:txBody>
      </p:sp>
    </p:spTree>
    <p:extLst>
      <p:ext uri="{BB962C8B-B14F-4D97-AF65-F5344CB8AC3E}">
        <p14:creationId xmlns:p14="http://schemas.microsoft.com/office/powerpoint/2010/main" val="203324068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 txBox="1">
            <a:spLocks/>
          </p:cNvSpPr>
          <p:nvPr/>
        </p:nvSpPr>
        <p:spPr>
          <a:xfrm>
            <a:off x="5380037" y="4640262"/>
            <a:ext cx="6858000" cy="217905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582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163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745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70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8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</a:rPr>
              <a:t>From your PC or Tablet visit MyIgnite a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  <a:hlinkClick r:id="rId3"/>
              </a:rPr>
              <a:t>http://myignite.microsoft.co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</a:rPr>
              <a:t>From your phone download and use the Ignite Mobile App by scanning  the QR code above or visiting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  <a:hlinkClick r:id="rId4"/>
              </a:rPr>
              <a:t>https://aka.ms/ignite.mobileap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380037" y="295274"/>
            <a:ext cx="6784166" cy="915989"/>
          </a:xfrm>
          <a:prstGeom prst="rect">
            <a:avLst/>
          </a:prstGeom>
        </p:spPr>
        <p:txBody>
          <a:bodyPr lIns="182880" tIns="146304" rIns="182880" bIns="146304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Please evaluate this session</a:t>
            </a:r>
          </a:p>
          <a:p>
            <a:pPr marL="0" marR="0" lvl="0" indent="0" algn="l" defTabSz="93274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Your feedback is important to us!</a:t>
            </a:r>
            <a:endParaRPr kumimoji="0" lang="en-US" sz="36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l="17119" r="5881"/>
          <a:stretch/>
        </p:blipFill>
        <p:spPr>
          <a:xfrm>
            <a:off x="0" y="-1"/>
            <a:ext cx="4925696" cy="699516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985" y="1478816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24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3690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24000">
                <a:schemeClr val="tx1">
                  <a:lumMod val="75000"/>
                  <a:alpha val="2000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0463" y="2774592"/>
            <a:ext cx="3695549" cy="651891"/>
          </a:xfrm>
          <a:prstGeom prst="rect">
            <a:avLst/>
          </a:prstGeom>
        </p:spPr>
      </p:pic>
      <p:pic>
        <p:nvPicPr>
          <p:cNvPr id="4" name="Picture 3" descr="EMC logo white_300dpi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711" y="2724242"/>
            <a:ext cx="2175764" cy="70224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screen">
            <a:lum bright="-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2491" y="2482816"/>
            <a:ext cx="1235440" cy="123544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71022" y="3912360"/>
            <a:ext cx="2918379" cy="2201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76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20000"/>
                  </a:srgbClr>
                </a:solidFill>
                <a:effectLst/>
                <a:uLnTx/>
                <a:uFillTx/>
                <a:ea typeface="Calibri"/>
                <a:cs typeface="Times New Roman"/>
              </a:rPr>
              <a:t>The world’s most    value-focused global       supply chain providing technology infrastructure for organizations            of all sizes</a:t>
            </a:r>
          </a:p>
        </p:txBody>
      </p:sp>
      <p:sp>
        <p:nvSpPr>
          <p:cNvPr id="9" name="Rectangle 8"/>
          <p:cNvSpPr/>
          <p:nvPr/>
        </p:nvSpPr>
        <p:spPr>
          <a:xfrm>
            <a:off x="8656275" y="3912360"/>
            <a:ext cx="3416639" cy="1900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76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20000"/>
                  </a:srgbClr>
                </a:solidFill>
                <a:effectLst/>
                <a:uLnTx/>
                <a:uFillTx/>
                <a:ea typeface="Calibri"/>
                <a:cs typeface="Times New Roman"/>
              </a:rPr>
              <a:t>The world’s leading data center innovation engine with cutting-edge enterprise infrastructure for the most demanding environments</a:t>
            </a:r>
          </a:p>
        </p:txBody>
      </p:sp>
      <p:sp>
        <p:nvSpPr>
          <p:cNvPr id="7" name="Rectangle 6"/>
          <p:cNvSpPr/>
          <p:nvPr/>
        </p:nvSpPr>
        <p:spPr>
          <a:xfrm>
            <a:off x="4370463" y="3912361"/>
            <a:ext cx="3630282" cy="1599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7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he world’s largest privately-held technology company with                        world-class enterprise sales and support </a:t>
            </a:r>
          </a:p>
        </p:txBody>
      </p:sp>
    </p:spTree>
    <p:extLst>
      <p:ext uri="{BB962C8B-B14F-4D97-AF65-F5344CB8AC3E}">
        <p14:creationId xmlns:p14="http://schemas.microsoft.com/office/powerpoint/2010/main" val="372180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62215" b="4831"/>
          <a:stretch/>
        </p:blipFill>
        <p:spPr>
          <a:xfrm>
            <a:off x="881" y="3561753"/>
            <a:ext cx="12435594" cy="222151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7551" b="61997"/>
          <a:stretch/>
        </p:blipFill>
        <p:spPr>
          <a:xfrm>
            <a:off x="881" y="1363662"/>
            <a:ext cx="12435594" cy="20527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981"/>
          <a:stretch/>
        </p:blipFill>
        <p:spPr>
          <a:xfrm>
            <a:off x="6904037" y="3928265"/>
            <a:ext cx="914479" cy="810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38757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882" y="0"/>
            <a:ext cx="12434710" cy="7009338"/>
          </a:xfrm>
          <a:prstGeom prst="rect">
            <a:avLst/>
          </a:prstGeom>
          <a:gradFill>
            <a:gsLst>
              <a:gs pos="7000">
                <a:schemeClr val="tx1">
                  <a:lumMod val="75000"/>
                  <a:alpha val="2000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15373" y="2743335"/>
            <a:ext cx="4345869" cy="1515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12434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24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t’s a hybrid cloud world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9593966" y="3179042"/>
            <a:ext cx="1982864" cy="954107"/>
            <a:chOff x="315024" y="3382355"/>
            <a:chExt cx="1982864" cy="954107"/>
          </a:xfrm>
        </p:grpSpPr>
        <p:sp>
          <p:nvSpPr>
            <p:cNvPr id="23" name="TextBox 22"/>
            <p:cNvSpPr txBox="1"/>
            <p:nvPr/>
          </p:nvSpPr>
          <p:spPr>
            <a:xfrm>
              <a:off x="323491" y="3866595"/>
              <a:ext cx="1974397" cy="3877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are concerned about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cost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of public cloud.</a:t>
              </a:r>
              <a:r>
                <a:rPr kumimoji="0" lang="en-US" sz="1400" b="0" i="0" u="none" strike="noStrike" kern="0" cap="none" spc="0" normalizeH="0" baseline="30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1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15024" y="3382355"/>
              <a:ext cx="1296736" cy="95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3800" b="1" i="0" u="none" strike="noStrike" kern="0" cap="none" spc="-30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37</a:t>
              </a:r>
              <a:r>
                <a:rPr kumimoji="0" lang="en-US" sz="3800" b="1" i="0" u="none" strike="noStrike" kern="0" cap="none" spc="-300" normalizeH="0" baseline="22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%</a:t>
              </a:r>
            </a:p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endParaRPr kumimoji="0" lang="en-US" sz="3800" b="1" i="0" u="none" strike="noStrike" kern="0" cap="none" spc="-300" normalizeH="0" baseline="22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5775034" y="3467306"/>
            <a:ext cx="2289943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68576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ITDMs say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hybrid cloud 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is important for a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“future-ready” enterprise.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2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9590331" y="1268364"/>
            <a:ext cx="1857379" cy="987723"/>
            <a:chOff x="3983619" y="384961"/>
            <a:chExt cx="1857379" cy="987723"/>
          </a:xfrm>
        </p:grpSpPr>
        <p:sp>
          <p:nvSpPr>
            <p:cNvPr id="28" name="TextBox 27"/>
            <p:cNvSpPr txBox="1"/>
            <p:nvPr/>
          </p:nvSpPr>
          <p:spPr>
            <a:xfrm>
              <a:off x="3983619" y="984886"/>
              <a:ext cx="1857379" cy="3877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of enterprises are leveraging the cloud.</a:t>
              </a:r>
              <a:r>
                <a:rPr kumimoji="0" lang="en-US" sz="1400" b="0" i="0" u="none" strike="noStrike" kern="0" cap="none" spc="0" normalizeH="0" baseline="30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1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983620" y="384961"/>
              <a:ext cx="129673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-30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82</a:t>
              </a:r>
              <a:r>
                <a:rPr kumimoji="0" lang="en-US" sz="4400" b="1" i="0" u="none" strike="noStrike" kern="0" cap="none" spc="-300" normalizeH="0" baseline="22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%</a:t>
              </a:r>
              <a:endParaRPr kumimoji="0" lang="en-US" sz="2000" b="1" i="0" u="none" strike="noStrike" kern="0" cap="none" spc="-300" normalizeH="0" baseline="22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5684837" y="3025795"/>
            <a:ext cx="2498457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9 out of 1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15373" y="6343405"/>
            <a:ext cx="8299191" cy="500135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1 Dell Global Technology Adoption Index 2015,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  <a:hlinkClick r:id="rId4"/>
              </a:rPr>
              <a:t>http://en.community.dell.com/dell-blogs/direct2dell/b/direct2dell/archive/2015/10/08/global-technology-adoption-index-2015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Museo Sans For Dell"/>
            </a:endParaRPr>
          </a:p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2 Dell and Penn Schoen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Berland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 Poll 2015</a:t>
            </a:r>
          </a:p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rPr>
              <a:t>3 Dell Global Technology Index 2015</a:t>
            </a:r>
          </a:p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Museo Sans For Del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9467557" y="5118177"/>
            <a:ext cx="1980153" cy="973086"/>
            <a:chOff x="4305471" y="1173502"/>
            <a:chExt cx="1751108" cy="973086"/>
          </a:xfrm>
        </p:grpSpPr>
        <p:sp>
          <p:nvSpPr>
            <p:cNvPr id="34" name="TextBox 33"/>
            <p:cNvSpPr txBox="1"/>
            <p:nvPr/>
          </p:nvSpPr>
          <p:spPr>
            <a:xfrm>
              <a:off x="4318665" y="1758790"/>
              <a:ext cx="1737914" cy="3877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want to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repatriate apps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 from public cloud.</a:t>
              </a:r>
              <a:r>
                <a:rPr kumimoji="0" lang="en-US" sz="1400" b="0" i="0" u="none" strike="noStrike" kern="0" cap="none" spc="0" normalizeH="0" baseline="30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2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305471" y="1173502"/>
              <a:ext cx="1345704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766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-30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78</a:t>
              </a:r>
              <a:r>
                <a:rPr kumimoji="0" lang="en-US" sz="4400" b="1" i="0" u="none" strike="noStrike" kern="0" cap="none" spc="-300" normalizeH="0" baseline="22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Museo Sans For Dell"/>
                </a:rPr>
                <a:t>%</a:t>
              </a:r>
              <a:endParaRPr kumimoji="0" lang="en-US" sz="2000" b="1" i="0" u="none" strike="noStrike" kern="0" cap="none" spc="-300" normalizeH="0" baseline="22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useo Sans For Del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1254806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/>
        </p:nvSpPr>
        <p:spPr>
          <a:xfrm>
            <a:off x="0" y="-32276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20000"/>
                </a:schemeClr>
              </a:gs>
              <a:gs pos="60000">
                <a:schemeClr val="bg2">
                  <a:alpha val="99000"/>
                </a:schemeClr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1127" y="2134006"/>
            <a:ext cx="5373601" cy="3170286"/>
          </a:xfrm>
        </p:spPr>
        <p:txBody>
          <a:bodyPr/>
          <a:lstStyle/>
          <a:p>
            <a:r>
              <a:rPr lang="en-US" sz="4624" dirty="0">
                <a:solidFill>
                  <a:schemeClr val="tx2"/>
                </a:solidFill>
              </a:rPr>
              <a:t>Delivering </a:t>
            </a:r>
            <a:br>
              <a:rPr lang="en-US" sz="4624" dirty="0">
                <a:solidFill>
                  <a:schemeClr val="tx2"/>
                </a:solidFill>
              </a:rPr>
            </a:br>
            <a:r>
              <a:rPr lang="en-US" sz="4624" dirty="0">
                <a:solidFill>
                  <a:schemeClr val="tx2"/>
                </a:solidFill>
              </a:rPr>
              <a:t>cutting-edge innovation for customer results</a:t>
            </a:r>
          </a:p>
        </p:txBody>
      </p:sp>
      <p:sp>
        <p:nvSpPr>
          <p:cNvPr id="29" name="Freeform 5"/>
          <p:cNvSpPr>
            <a:spLocks noChangeAspect="1"/>
          </p:cNvSpPr>
          <p:nvPr/>
        </p:nvSpPr>
        <p:spPr bwMode="auto">
          <a:xfrm rot="5400000">
            <a:off x="788402" y="1686500"/>
            <a:ext cx="4818992" cy="4170123"/>
          </a:xfrm>
          <a:custGeom>
            <a:avLst/>
            <a:gdLst>
              <a:gd name="T0" fmla="*/ 292 w 1166"/>
              <a:gd name="T1" fmla="*/ 1009 h 1009"/>
              <a:gd name="T2" fmla="*/ 874 w 1166"/>
              <a:gd name="T3" fmla="*/ 1009 h 1009"/>
              <a:gd name="T4" fmla="*/ 1166 w 1166"/>
              <a:gd name="T5" fmla="*/ 505 h 1009"/>
              <a:gd name="T6" fmla="*/ 874 w 1166"/>
              <a:gd name="T7" fmla="*/ 0 h 1009"/>
              <a:gd name="T8" fmla="*/ 292 w 1166"/>
              <a:gd name="T9" fmla="*/ 0 h 1009"/>
              <a:gd name="T10" fmla="*/ 0 w 1166"/>
              <a:gd name="T11" fmla="*/ 505 h 1009"/>
              <a:gd name="T12" fmla="*/ 292 w 1166"/>
              <a:gd name="T13" fmla="*/ 1009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6" h="1009">
                <a:moveTo>
                  <a:pt x="292" y="1009"/>
                </a:moveTo>
                <a:lnTo>
                  <a:pt x="874" y="1009"/>
                </a:lnTo>
                <a:lnTo>
                  <a:pt x="1166" y="505"/>
                </a:lnTo>
                <a:lnTo>
                  <a:pt x="874" y="0"/>
                </a:lnTo>
                <a:lnTo>
                  <a:pt x="292" y="0"/>
                </a:lnTo>
                <a:lnTo>
                  <a:pt x="0" y="505"/>
                </a:lnTo>
                <a:lnTo>
                  <a:pt x="292" y="100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marL="0" marR="0" lvl="0" indent="0" defTabSz="12434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8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40537" y="1782907"/>
            <a:ext cx="4242423" cy="3961144"/>
            <a:chOff x="2966484" y="1745769"/>
            <a:chExt cx="3119712" cy="2912870"/>
          </a:xfrm>
        </p:grpSpPr>
        <p:grpSp>
          <p:nvGrpSpPr>
            <p:cNvPr id="30" name="Group 29"/>
            <p:cNvGrpSpPr/>
            <p:nvPr/>
          </p:nvGrpSpPr>
          <p:grpSpPr>
            <a:xfrm>
              <a:off x="3292209" y="1745769"/>
              <a:ext cx="2521429" cy="2669565"/>
              <a:chOff x="3568700" y="1822450"/>
              <a:chExt cx="2000251" cy="2125663"/>
            </a:xfrm>
          </p:grpSpPr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3856038" y="1822450"/>
                <a:ext cx="1431925" cy="411163"/>
              </a:xfrm>
              <a:custGeom>
                <a:avLst/>
                <a:gdLst>
                  <a:gd name="T0" fmla="*/ 902 w 902"/>
                  <a:gd name="T1" fmla="*/ 259 h 259"/>
                  <a:gd name="T2" fmla="*/ 449 w 902"/>
                  <a:gd name="T3" fmla="*/ 0 h 259"/>
                  <a:gd name="T4" fmla="*/ 0 w 902"/>
                  <a:gd name="T5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2" h="259">
                    <a:moveTo>
                      <a:pt x="902" y="259"/>
                    </a:moveTo>
                    <a:lnTo>
                      <a:pt x="449" y="0"/>
                    </a:lnTo>
                    <a:lnTo>
                      <a:pt x="0" y="259"/>
                    </a:lnTo>
                  </a:path>
                </a:pathLst>
              </a:custGeom>
              <a:noFill/>
              <a:ln w="9525" cap="flat">
                <a:solidFill>
                  <a:srgbClr val="3DC6E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4349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4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4891088" y="2849563"/>
                <a:ext cx="677863" cy="1098550"/>
              </a:xfrm>
              <a:custGeom>
                <a:avLst/>
                <a:gdLst>
                  <a:gd name="T0" fmla="*/ 0 w 427"/>
                  <a:gd name="T1" fmla="*/ 692 h 692"/>
                  <a:gd name="T2" fmla="*/ 427 w 427"/>
                  <a:gd name="T3" fmla="*/ 444 h 692"/>
                  <a:gd name="T4" fmla="*/ 427 w 427"/>
                  <a:gd name="T5" fmla="*/ 0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7" h="692">
                    <a:moveTo>
                      <a:pt x="0" y="692"/>
                    </a:moveTo>
                    <a:lnTo>
                      <a:pt x="427" y="444"/>
                    </a:lnTo>
                    <a:lnTo>
                      <a:pt x="427" y="0"/>
                    </a:lnTo>
                  </a:path>
                </a:pathLst>
              </a:custGeom>
              <a:noFill/>
              <a:ln w="9525" cap="flat">
                <a:solidFill>
                  <a:srgbClr val="3DC6E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4349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4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16"/>
              <p:cNvSpPr>
                <a:spLocks/>
              </p:cNvSpPr>
              <p:nvPr/>
            </p:nvSpPr>
            <p:spPr bwMode="auto">
              <a:xfrm>
                <a:off x="3568700" y="2849563"/>
                <a:ext cx="679450" cy="1098550"/>
              </a:xfrm>
              <a:custGeom>
                <a:avLst/>
                <a:gdLst>
                  <a:gd name="T0" fmla="*/ 0 w 428"/>
                  <a:gd name="T1" fmla="*/ 0 h 692"/>
                  <a:gd name="T2" fmla="*/ 0 w 428"/>
                  <a:gd name="T3" fmla="*/ 444 h 692"/>
                  <a:gd name="T4" fmla="*/ 428 w 428"/>
                  <a:gd name="T5" fmla="*/ 692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8" h="692">
                    <a:moveTo>
                      <a:pt x="0" y="0"/>
                    </a:moveTo>
                    <a:lnTo>
                      <a:pt x="0" y="444"/>
                    </a:lnTo>
                    <a:lnTo>
                      <a:pt x="428" y="692"/>
                    </a:lnTo>
                  </a:path>
                </a:pathLst>
              </a:custGeom>
              <a:noFill/>
              <a:ln w="9525" cap="flat">
                <a:solidFill>
                  <a:srgbClr val="3DC6E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4349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4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Rectangle 11"/>
            <p:cNvSpPr>
              <a:spLocks noChangeArrowheads="1"/>
            </p:cNvSpPr>
            <p:nvPr/>
          </p:nvSpPr>
          <p:spPr bwMode="auto">
            <a:xfrm>
              <a:off x="4014916" y="4243046"/>
              <a:ext cx="1097280" cy="4155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81926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Driving out</a:t>
              </a:r>
              <a:b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inefficiency everywhere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966484" y="2333897"/>
              <a:ext cx="1197753" cy="6220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1926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Delivering                        a superior</a:t>
              </a:r>
              <a:b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long-term</a:t>
              </a:r>
              <a:b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value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929428" y="2337435"/>
              <a:ext cx="1156768" cy="6220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1926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Democratizing technology </a:t>
              </a:r>
              <a:b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for the</a:t>
              </a:r>
              <a:b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benefit of all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64732" y="1090649"/>
            <a:ext cx="4849769" cy="4426958"/>
            <a:chOff x="2763668" y="1236710"/>
            <a:chExt cx="3566330" cy="3255412"/>
          </a:xfrm>
        </p:grpSpPr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4169611" y="1236710"/>
              <a:ext cx="765190" cy="2037660"/>
            </a:xfrm>
            <a:custGeom>
              <a:avLst/>
              <a:gdLst>
                <a:gd name="T0" fmla="*/ 448 w 448"/>
                <a:gd name="T1" fmla="*/ 1064 h 1193"/>
                <a:gd name="T2" fmla="*/ 224 w 448"/>
                <a:gd name="T3" fmla="*/ 1193 h 1193"/>
                <a:gd name="T4" fmla="*/ 0 w 448"/>
                <a:gd name="T5" fmla="*/ 1064 h 1193"/>
                <a:gd name="T6" fmla="*/ 0 w 448"/>
                <a:gd name="T7" fmla="*/ 129 h 1193"/>
                <a:gd name="T8" fmla="*/ 224 w 448"/>
                <a:gd name="T9" fmla="*/ 0 h 1193"/>
                <a:gd name="T10" fmla="*/ 448 w 448"/>
                <a:gd name="T11" fmla="*/ 130 h 1193"/>
                <a:gd name="T12" fmla="*/ 448 w 448"/>
                <a:gd name="T13" fmla="*/ 1064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8" h="1193">
                  <a:moveTo>
                    <a:pt x="448" y="1064"/>
                  </a:moveTo>
                  <a:lnTo>
                    <a:pt x="224" y="1193"/>
                  </a:lnTo>
                  <a:lnTo>
                    <a:pt x="0" y="1064"/>
                  </a:lnTo>
                  <a:lnTo>
                    <a:pt x="0" y="129"/>
                  </a:lnTo>
                  <a:lnTo>
                    <a:pt x="224" y="0"/>
                  </a:lnTo>
                  <a:lnTo>
                    <a:pt x="448" y="130"/>
                  </a:lnTo>
                  <a:lnTo>
                    <a:pt x="448" y="1064"/>
                  </a:lnTo>
                  <a:close/>
                </a:path>
              </a:pathLst>
            </a:custGeom>
            <a:gradFill>
              <a:gsLst>
                <a:gs pos="25000">
                  <a:schemeClr val="bg2">
                    <a:lumMod val="100000"/>
                    <a:alpha val="90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434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64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4546833" y="3023231"/>
              <a:ext cx="1783165" cy="1467183"/>
            </a:xfrm>
            <a:custGeom>
              <a:avLst/>
              <a:gdLst>
                <a:gd name="T0" fmla="*/ 0 w 1044"/>
                <a:gd name="T1" fmla="*/ 387 h 859"/>
                <a:gd name="T2" fmla="*/ 0 w 1044"/>
                <a:gd name="T3" fmla="*/ 129 h 859"/>
                <a:gd name="T4" fmla="*/ 224 w 1044"/>
                <a:gd name="T5" fmla="*/ 0 h 859"/>
                <a:gd name="T6" fmla="*/ 1044 w 1044"/>
                <a:gd name="T7" fmla="*/ 472 h 859"/>
                <a:gd name="T8" fmla="*/ 1044 w 1044"/>
                <a:gd name="T9" fmla="*/ 730 h 859"/>
                <a:gd name="T10" fmla="*/ 821 w 1044"/>
                <a:gd name="T11" fmla="*/ 859 h 859"/>
                <a:gd name="T12" fmla="*/ 0 w 1044"/>
                <a:gd name="T13" fmla="*/ 38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4" h="859">
                  <a:moveTo>
                    <a:pt x="0" y="387"/>
                  </a:moveTo>
                  <a:lnTo>
                    <a:pt x="0" y="129"/>
                  </a:lnTo>
                  <a:lnTo>
                    <a:pt x="224" y="0"/>
                  </a:lnTo>
                  <a:lnTo>
                    <a:pt x="1044" y="472"/>
                  </a:lnTo>
                  <a:lnTo>
                    <a:pt x="1044" y="730"/>
                  </a:lnTo>
                  <a:lnTo>
                    <a:pt x="821" y="859"/>
                  </a:lnTo>
                  <a:lnTo>
                    <a:pt x="0" y="387"/>
                  </a:lnTo>
                  <a:close/>
                </a:path>
              </a:pathLst>
            </a:custGeom>
            <a:gradFill flip="none" rotWithShape="1">
              <a:gsLst>
                <a:gs pos="34000">
                  <a:schemeClr val="bg2">
                    <a:alpha val="90000"/>
                  </a:schemeClr>
                </a:gs>
                <a:gs pos="100000">
                  <a:srgbClr val="FFD220"/>
                </a:gs>
              </a:gsLst>
              <a:lin ang="24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434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64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2763668" y="3021523"/>
              <a:ext cx="1783165" cy="1470599"/>
            </a:xfrm>
            <a:custGeom>
              <a:avLst/>
              <a:gdLst>
                <a:gd name="T0" fmla="*/ 1044 w 1044"/>
                <a:gd name="T1" fmla="*/ 388 h 861"/>
                <a:gd name="T2" fmla="*/ 1044 w 1044"/>
                <a:gd name="T3" fmla="*/ 130 h 861"/>
                <a:gd name="T4" fmla="*/ 820 w 1044"/>
                <a:gd name="T5" fmla="*/ 0 h 861"/>
                <a:gd name="T6" fmla="*/ 0 w 1044"/>
                <a:gd name="T7" fmla="*/ 473 h 861"/>
                <a:gd name="T8" fmla="*/ 0 w 1044"/>
                <a:gd name="T9" fmla="*/ 731 h 861"/>
                <a:gd name="T10" fmla="*/ 224 w 1044"/>
                <a:gd name="T11" fmla="*/ 861 h 861"/>
                <a:gd name="T12" fmla="*/ 1044 w 1044"/>
                <a:gd name="T13" fmla="*/ 388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4" h="861">
                  <a:moveTo>
                    <a:pt x="1044" y="388"/>
                  </a:moveTo>
                  <a:lnTo>
                    <a:pt x="1044" y="130"/>
                  </a:lnTo>
                  <a:lnTo>
                    <a:pt x="820" y="0"/>
                  </a:lnTo>
                  <a:lnTo>
                    <a:pt x="0" y="473"/>
                  </a:lnTo>
                  <a:lnTo>
                    <a:pt x="0" y="731"/>
                  </a:lnTo>
                  <a:lnTo>
                    <a:pt x="224" y="861"/>
                  </a:lnTo>
                  <a:lnTo>
                    <a:pt x="1044" y="388"/>
                  </a:lnTo>
                  <a:close/>
                </a:path>
              </a:pathLst>
            </a:custGeom>
            <a:gradFill>
              <a:gsLst>
                <a:gs pos="34000">
                  <a:schemeClr val="bg2">
                    <a:lumMod val="100000"/>
                    <a:alpha val="90000"/>
                  </a:schemeClr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434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64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29404" y="1216170"/>
            <a:ext cx="4705662" cy="4221799"/>
            <a:chOff x="5016110" y="694833"/>
            <a:chExt cx="3460360" cy="3104546"/>
          </a:xfrm>
        </p:grpSpPr>
        <p:grpSp>
          <p:nvGrpSpPr>
            <p:cNvPr id="6" name="Group 5"/>
            <p:cNvGrpSpPr/>
            <p:nvPr/>
          </p:nvGrpSpPr>
          <p:grpSpPr>
            <a:xfrm>
              <a:off x="6203078" y="694833"/>
              <a:ext cx="1097280" cy="687373"/>
              <a:chOff x="3998193" y="1329013"/>
              <a:chExt cx="1097280" cy="687373"/>
            </a:xfrm>
          </p:grpSpPr>
          <p:sp>
            <p:nvSpPr>
              <p:cNvPr id="38" name="Rectangle 11"/>
              <p:cNvSpPr>
                <a:spLocks noChangeArrowheads="1"/>
              </p:cNvSpPr>
              <p:nvPr/>
            </p:nvSpPr>
            <p:spPr bwMode="auto">
              <a:xfrm>
                <a:off x="3998193" y="1891717"/>
                <a:ext cx="1097280" cy="1246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81926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APABILITY</a:t>
                </a:r>
              </a:p>
            </p:txBody>
          </p:sp>
          <p:sp>
            <p:nvSpPr>
              <p:cNvPr id="39" name="Right Arrow 38"/>
              <p:cNvSpPr/>
              <p:nvPr/>
            </p:nvSpPr>
            <p:spPr>
              <a:xfrm rot="16200000" flipV="1">
                <a:off x="4303696" y="1379042"/>
                <a:ext cx="486273" cy="386215"/>
              </a:xfrm>
              <a:prstGeom prst="rightArrow">
                <a:avLst>
                  <a:gd name="adj1" fmla="val 50000"/>
                  <a:gd name="adj2" fmla="val 59757"/>
                </a:avLst>
              </a:prstGeom>
              <a:solidFill>
                <a:schemeClr val="tx2">
                  <a:alpha val="50000"/>
                </a:schemeClr>
              </a:solidFill>
              <a:ln w="12700"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93260" tIns="46630" rIns="93260" bIns="46630" rtlCol="0" anchor="ctr"/>
              <a:lstStyle/>
              <a:p>
                <a:pPr marL="0" marR="0" lvl="0" indent="0" algn="ctr" defTabSz="124349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48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Rectangle 11"/>
            <p:cNvSpPr>
              <a:spLocks noChangeArrowheads="1"/>
            </p:cNvSpPr>
            <p:nvPr/>
          </p:nvSpPr>
          <p:spPr bwMode="auto">
            <a:xfrm>
              <a:off x="7565009" y="3129613"/>
              <a:ext cx="911461" cy="1246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81926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US" sz="1224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COMPLEXITY</a:t>
              </a: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auto">
            <a:xfrm>
              <a:off x="5016110" y="3131592"/>
              <a:ext cx="669393" cy="1246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81926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US" sz="1224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rPr>
                <a:t>COST</a:t>
              </a:r>
            </a:p>
          </p:txBody>
        </p:sp>
        <p:sp>
          <p:nvSpPr>
            <p:cNvPr id="49" name="Right Arrow 48"/>
            <p:cNvSpPr/>
            <p:nvPr/>
          </p:nvSpPr>
          <p:spPr>
            <a:xfrm rot="5400000" flipV="1">
              <a:off x="5103450" y="3363135"/>
              <a:ext cx="486273" cy="386215"/>
            </a:xfrm>
            <a:prstGeom prst="rightArrow">
              <a:avLst>
                <a:gd name="adj1" fmla="val 50000"/>
                <a:gd name="adj2" fmla="val 59757"/>
              </a:avLst>
            </a:prstGeom>
            <a:solidFill>
              <a:schemeClr val="tx2">
                <a:alpha val="50000"/>
              </a:schemeClr>
            </a:solidFill>
            <a:ln w="12700"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93260" tIns="46630" rIns="93260" bIns="46630" rtlCol="0" anchor="ctr"/>
            <a:lstStyle/>
            <a:p>
              <a:pPr marL="0" marR="0" lvl="0" indent="0" algn="ctr" defTabSz="12434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0" name="Right Arrow 49"/>
            <p:cNvSpPr/>
            <p:nvPr/>
          </p:nvSpPr>
          <p:spPr>
            <a:xfrm rot="5400000" flipV="1">
              <a:off x="7911666" y="3359330"/>
              <a:ext cx="486273" cy="386215"/>
            </a:xfrm>
            <a:prstGeom prst="rightArrow">
              <a:avLst>
                <a:gd name="adj1" fmla="val 50000"/>
                <a:gd name="adj2" fmla="val 59757"/>
              </a:avLst>
            </a:prstGeom>
            <a:solidFill>
              <a:schemeClr val="tx2">
                <a:alpha val="50000"/>
              </a:schemeClr>
            </a:solidFill>
            <a:ln w="12700"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93260" tIns="46630" rIns="93260" bIns="46630" rtlCol="0" anchor="ctr"/>
            <a:lstStyle/>
            <a:p>
              <a:pPr marL="0" marR="0" lvl="0" indent="0" algn="ctr" defTabSz="12434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00485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74638" y="1209973"/>
            <a:ext cx="8228299" cy="1929759"/>
          </a:xfrm>
        </p:spPr>
        <p:txBody>
          <a:bodyPr/>
          <a:lstStyle/>
          <a:p>
            <a:br>
              <a:rPr lang="en-US" dirty="0"/>
            </a:br>
            <a:r>
              <a:rPr lang="en-US" sz="5400" dirty="0"/>
              <a:t>Microsoft Solution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74638" y="3954463"/>
            <a:ext cx="8229599" cy="1181862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40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+mn-cs"/>
              </a:rPr>
              <a:t>John McVay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+mn-cs"/>
              </a:rPr>
              <a:t>Director, Validated Solu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88" y="1209973"/>
            <a:ext cx="3695549" cy="65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7368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 txBox="1">
            <a:spLocks/>
          </p:cNvSpPr>
          <p:nvPr/>
        </p:nvSpPr>
        <p:spPr>
          <a:xfrm>
            <a:off x="6904037" y="906462"/>
            <a:ext cx="5088318" cy="47645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793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For more than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30 year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, </a:t>
            </a:r>
          </a:p>
          <a:p>
            <a:pPr marL="0" marR="0" lvl="0" indent="0" algn="r" defTabSz="17793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Dell and Microsoft have focused on delivering best in class solutions </a:t>
            </a:r>
          </a:p>
          <a:p>
            <a:pPr marL="0" marR="0" lvl="0" indent="0" algn="r" defTabSz="17793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that span the entire Microsoft Product Portfolio to organizations all over the world</a:t>
            </a:r>
          </a:p>
        </p:txBody>
      </p:sp>
      <p:pic>
        <p:nvPicPr>
          <p:cNvPr id="17" name="Picture 2" descr="C:\Creative Team\Services Imagery\Logos\Partners\MSFT_logo_pn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237" y="2278063"/>
            <a:ext cx="2900544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037" y="2613398"/>
            <a:ext cx="2228240" cy="396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322483"/>
      </p:ext>
    </p:extLst>
  </p:cSld>
  <p:clrMapOvr>
    <a:masterClrMapping/>
  </p:clrMapOvr>
  <p:transition spd="med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81" y="0"/>
            <a:ext cx="12434710" cy="7009338"/>
          </a:xfrm>
          <a:prstGeom prst="rect">
            <a:avLst/>
          </a:prstGeom>
          <a:gradFill>
            <a:gsLst>
              <a:gs pos="15000">
                <a:schemeClr val="tx1">
                  <a:lumMod val="75000"/>
                  <a:alpha val="0"/>
                </a:schemeClr>
              </a:gs>
              <a:gs pos="72000">
                <a:schemeClr val="bg2"/>
              </a:gs>
            </a:gsLst>
            <a:lin ang="8100000" scaled="1"/>
          </a:gradFill>
          <a:effectLst/>
        </p:spPr>
        <p:txBody>
          <a:bodyPr wrap="square" lIns="248694" tIns="186521" rIns="186521" bIns="186521" rtlCol="0" anchor="ctr">
            <a:noAutofit/>
          </a:bodyPr>
          <a:lstStyle/>
          <a:p>
            <a:pPr marL="0" marR="0" lvl="0" indent="0" algn="ctr" defTabSz="1243493" eaLnBrk="1" fontAlgn="base" latinLnBrk="0" hangingPunct="1">
              <a:lnSpc>
                <a:spcPct val="9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15372" y="2211750"/>
            <a:ext cx="7440608" cy="250088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2"/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24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nnouncing</a:t>
            </a:r>
            <a:endParaRPr kumimoji="0" lang="en-US" sz="462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5608637" y="3022843"/>
            <a:ext cx="6845300" cy="947506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Validated System for Microsoft Exchang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608637" y="4149956"/>
            <a:ext cx="6845300" cy="947506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Validated System for Microsoft SQL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608637" y="1900125"/>
            <a:ext cx="6824662" cy="947506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0" cap="none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0" marR="0" lvl="0" indent="0" algn="l" defTabSz="1243493" rtl="0" eaLnBrk="1" fontAlgn="auto" latinLnBrk="0" hangingPunct="1">
              <a:lnSpc>
                <a:spcPct val="100000"/>
              </a:lnSpc>
              <a:spcBef>
                <a:spcPts val="408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useo Sans For Dell" panose="02000000000000000000" pitchFamily="2" charset="0"/>
                <a:cs typeface="+mj-cs"/>
              </a:rPr>
              <a:t>Azure Cloud Services by Dell EMC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+mj-lt"/>
              <a:ea typeface="Museo Sans For Dell" panose="02000000000000000000" pitchFamily="2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3308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ycT9MQjkaHs_FDl4kG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JWUQwV0E.Dv0tDMNgoAw"/>
</p:tagLst>
</file>

<file path=ppt/theme/theme1.xml><?xml version="1.0" encoding="utf-8"?>
<a:theme xmlns:a="http://schemas.openxmlformats.org/drawingml/2006/main" name="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_v02.potx" id="{870308F8-E0CB-4103-848C-306E67E28446}" vid="{7645BF26-5E45-428D-8A8C-D391F4476141}"/>
    </a:ext>
  </a:extLst>
</a:theme>
</file>

<file path=ppt/theme/theme2.xml><?xml version="1.0" encoding="utf-8"?>
<a:theme xmlns:a="http://schemas.openxmlformats.org/drawingml/2006/main" name="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_v02.potx" id="{870308F8-E0CB-4103-848C-306E67E28446}" vid="{94F43A21-9696-48F3-B9B7-2EDC14895D10}"/>
    </a:ext>
  </a:extLst>
</a:theme>
</file>

<file path=ppt/theme/theme3.xml><?xml version="1.0" encoding="utf-8"?>
<a:theme xmlns:a="http://schemas.openxmlformats.org/drawingml/2006/main" name="1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_v02.potx" id="{870308F8-E0CB-4103-848C-306E67E28446}" vid="{91E44DB9-F8DD-48AE-8162-26CDF62A116D}"/>
    </a:ext>
  </a:extLst>
</a:theme>
</file>

<file path=ppt/theme/theme4.xml><?xml version="1.0" encoding="utf-8"?>
<a:theme xmlns:a="http://schemas.openxmlformats.org/drawingml/2006/main" name="2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" id="{724CCC7E-DAE2-445C-BC5A-A65E0DF5D5E1}" vid="{3692F10D-0335-4FCE-A1C4-82B66353CE1A}"/>
    </a:ext>
  </a:extLst>
</a:theme>
</file>

<file path=ppt/theme/theme5.xml><?xml version="1.0" encoding="utf-8"?>
<a:theme xmlns:a="http://schemas.openxmlformats.org/drawingml/2006/main" name="7_Dell EMC Advantage - Revised Draft v2B">
  <a:themeElements>
    <a:clrScheme name="Custom 2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EMC_PPT_Presentation_16x9" id="{0084FB5A-FCDA-4056-81E9-521D5D1E3C56}" vid="{941DDD1F-9B84-4450-8F57-465B23A5BF94}"/>
    </a:ext>
  </a:extLst>
</a:theme>
</file>

<file path=ppt/theme/theme6.xml><?xml version="1.0" encoding="utf-8"?>
<a:theme xmlns:a="http://schemas.openxmlformats.org/drawingml/2006/main" name="1_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" id="{724CCC7E-DAE2-445C-BC5A-A65E0DF5D5E1}" vid="{42B86328-F22E-4D0A-8C88-21AC34E191E7}"/>
    </a:ext>
  </a:extLst>
</a:theme>
</file>

<file path=ppt/theme/theme7.xml><?xml version="1.0" encoding="utf-8"?>
<a:theme xmlns:a="http://schemas.openxmlformats.org/drawingml/2006/main" name="DellEMC template">
  <a:themeElements>
    <a:clrScheme name="Custom 2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EMC_PPT_Template" id="{055BB9A5-E830-48C9-A0C9-E7B65F9E5987}" vid="{ABFEEB7B-F007-414C-BDF2-D5678B9B381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31DCF4CA090F824DB1E4CCBB6B9D64EA00101E8AAD132F8F4D96340D6376C8BB3E" ma:contentTypeVersion="22" ma:contentTypeDescription="" ma:contentTypeScope="" ma:versionID="8add498658ef06bbcf3bc1f2c97d938c">
  <xsd:schema xmlns:xsd="http://www.w3.org/2001/XMLSchema" xmlns:xs="http://www.w3.org/2001/XMLSchema" xmlns:p="http://schemas.microsoft.com/office/2006/metadata/properties" xmlns:ns1="http://schemas.microsoft.com/sharepoint/v3" xmlns:ns2="01c77077-aee4-4b5f-bd4e-9cd40a6fff29" xmlns:ns3="230e9df3-be65-4c73-a93b-d1236ebd677e" xmlns:ns5="8ff673fc-3231-4e3a-893b-6d7f7cd32766" targetNamespace="http://schemas.microsoft.com/office/2006/metadata/properties" ma:root="true" ma:fieldsID="a14070d067e341e7ddc7e27ecc4a2d88" ns1:_="" ns2:_="" ns3:_="" ns5:_="">
    <xsd:import namespace="http://schemas.microsoft.com/sharepoint/v3"/>
    <xsd:import namespace="01c77077-aee4-4b5f-bd4e-9cd40a6fff29"/>
    <xsd:import namespace="230e9df3-be65-4c73-a93b-d1236ebd677e"/>
    <xsd:import namespace="8ff673fc-3231-4e3a-893b-6d7f7cd32766"/>
    <xsd:element name="properties">
      <xsd:complexType>
        <xsd:sequence>
          <xsd:element name="documentManagement">
            <xsd:complexType>
              <xsd:all>
                <xsd:element ref="ns2:mb2e01f7e2d8413988e28e59aa226eec" minOccurs="0"/>
                <xsd:element ref="ns3:TaxCatchAll" minOccurs="0"/>
                <xsd:element ref="ns3:TaxCatchAllLabel" minOccurs="0"/>
                <xsd:element ref="ns2:iaa5f83406f94009a0f6a3e890699ff7" minOccurs="0"/>
                <xsd:element ref="ns2:d12e2661e9634d9aa98bbb375f31aced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1010385baed4da9b5076a6aa651d1e5" minOccurs="0"/>
                <xsd:element ref="ns2:kc6d1bd9a46e4e5fbbbf99ca3de7a092" minOccurs="0"/>
                <xsd:element ref="ns2:Session_x0020_Code" minOccurs="0"/>
                <xsd:element ref="ns2:MS_x0020_Content_x0020_Owner" minOccurs="0"/>
                <xsd:element ref="ns2:m6878b9dd7994da4ba144f95347d99c6" minOccurs="0"/>
                <xsd:element ref="ns2:fc15c16204564de583b4c942b10d19ec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5:Target_x0020_Audiences" minOccurs="0"/>
                <xsd:element ref="ns2:SharedWithUsers" minOccurs="0"/>
                <xsd:element ref="ns2:SharedWithDetails" minOccurs="0"/>
                <xsd:element ref="ns3:NumberofDownloa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c77077-aee4-4b5f-bd4e-9cd40a6fff29" elementFormDefault="qualified">
    <xsd:import namespace="http://schemas.microsoft.com/office/2006/documentManagement/types"/>
    <xsd:import namespace="http://schemas.microsoft.com/office/infopath/2007/PartnerControls"/>
    <xsd:element name="mb2e01f7e2d8413988e28e59aa226eec" ma:index="8" nillable="true" ma:taxonomy="true" ma:internalName="mb2e01f7e2d8413988e28e59aa226eec" ma:taxonomyFieldName="Event_x0020_Name" ma:displayName="Event Name" ma:default="" ma:fieldId="{6b2e01f7-e2d8-4139-88e2-8e59aa226eec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iaa5f83406f94009a0f6a3e890699ff7" ma:index="12" nillable="true" ma:taxonomy="true" ma:internalName="iaa5f83406f94009a0f6a3e890699ff7" ma:taxonomyFieldName="Event_x0020_Location" ma:displayName="Event Location" ma:default="" ma:fieldId="{2aa5f834-06f9-4009-a0f6-a3e890699ff7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12e2661e9634d9aa98bbb375f31aced" ma:index="14" nillable="true" ma:taxonomy="true" ma:internalName="d12e2661e9634d9aa98bbb375f31aced" ma:taxonomyFieldName="Event_x0020_Venue" ma:displayName="Event Venue" ma:default="" ma:fieldId="{d12e2661-e963-4d9a-a98b-bb375f31aced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1010385baed4da9b5076a6aa651d1e5" ma:index="21" nillable="true" ma:taxonomy="true" ma:internalName="o1010385baed4da9b5076a6aa651d1e5" ma:taxonomyFieldName="Product" ma:displayName="Product" ma:default="" ma:fieldId="{81010385-baed-4da9-b507-6a6aa651d1e5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c6d1bd9a46e4e5fbbbf99ca3de7a092" ma:index="23" nillable="true" ma:taxonomy="true" ma:internalName="kc6d1bd9a46e4e5fbbbf99ca3de7a092" ma:taxonomyFieldName="Campaign" ma:displayName="Campaign" ma:default="" ma:fieldId="{4c6d1bd9-a46e-4e5f-bbbf-99ca3de7a092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6878b9dd7994da4ba144f95347d99c6" ma:index="27" nillable="true" ma:taxonomy="true" ma:internalName="m6878b9dd7994da4ba144f95347d99c6" ma:taxonomyFieldName="Track" ma:displayName="Track" ma:readOnly="false" ma:default="" ma:fieldId="{66878b9d-d799-4da4-ba14-4f95347d99c6}" ma:sspId="e385fb40-52d4-4fae-9c5b-3e8ff8a5878e" ma:termSetId="8113a965-58e2-4a85-99b9-55376be5482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fc15c16204564de583b4c942b10d19ec" ma:index="29" nillable="true" ma:taxonomy="true" ma:internalName="fc15c16204564de583b4c942b10d19ec" ma:taxonomyFieldName="Audience1" ma:displayName="Audience" ma:default="" ma:fieldId="{fc15c162-0456-4de5-83b4-c942b10d19ec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0d8ba32e-6f24-4e39-985b-e3fd5ec6bdb7}" ma:internalName="TaxCatchAll" ma:showField="CatchAllData" ma:web="01c77077-aee4-4b5f-bd4e-9cd40a6fff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0d8ba32e-6f24-4e39-985b-e3fd5ec6bdb7}" ma:internalName="TaxCatchAllLabel" ma:readOnly="true" ma:showField="CatchAllDataLabel" ma:web="01c77077-aee4-4b5f-bd4e-9cd40a6fff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NumberofDownloads" ma:index="40" nillable="true" ma:displayName="NumberofDownloads" ma:internalName="NumberofDownload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f673fc-3231-4e3a-893b-6d7f7cd32766" elementFormDefault="qualified">
    <xsd:import namespace="http://schemas.microsoft.com/office/2006/documentManagement/types"/>
    <xsd:import namespace="http://schemas.microsoft.com/office/infopath/2007/PartnerControls"/>
    <xsd:element name="Target_x0020_Audiences" ma:index="37" nillable="true" ma:displayName="Target Audiences" ma:internalName="Target_x0020_Audiences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d12e2661e9634d9aa98bbb375f31aced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orgia World Congress Center</TermName>
          <TermId xmlns="http://schemas.microsoft.com/office/infopath/2007/PartnerControls">ea0ece34-59a6-4d43-8d9e-d0f9e2a2f1ce</TermId>
        </TermInfo>
      </Terms>
    </d12e2661e9634d9aa98bbb375f31aced>
    <Event_x0020_Start_x0020_Date xmlns="01c77077-aee4-4b5f-bd4e-9cd40a6fff29">2016-09-25T07:00:00+00:00</Event_x0020_Start_x0020_Date>
    <Target_x0020_Audiences xmlns="8ff673fc-3231-4e3a-893b-6d7f7cd32766" xsi:nil="true"/>
    <iaa5f83406f94009a0f6a3e890699ff7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Atlanta</TermName>
          <TermId xmlns="http://schemas.microsoft.com/office/infopath/2007/PartnerControls">01fb9831-5840-48a0-a576-3e48f42baa53</TermId>
        </TermInfo>
      </Terms>
    </iaa5f83406f94009a0f6a3e890699ff7>
    <External_x0020_Speaker xmlns="01c77077-aee4-4b5f-bd4e-9cd40a6fff29">Hani Mousa, John McVay</External_x0020_Speaker>
    <m6878b9dd7994da4ba144f95347d99c6 xmlns="01c77077-aee4-4b5f-bd4e-9cd40a6fff29">
      <Terms xmlns="http://schemas.microsoft.com/office/infopath/2007/PartnerControls"/>
    </m6878b9dd7994da4ba144f95347d99c6>
    <Presentation_x0020_Date xmlns="01c77077-aee4-4b5f-bd4e-9cd40a6fff29">2016-09-27T04:00:00+00:00</Presentation_x0020_Date>
    <fc15c16204564de583b4c942b10d19ec xmlns="01c77077-aee4-4b5f-bd4e-9cd40a6fff29">
      <Terms xmlns="http://schemas.microsoft.com/office/infopath/2007/PartnerControls"/>
    </fc15c16204564de583b4c942b10d19ec>
    <mb2e01f7e2d8413988e28e59aa226eec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mb2e01f7e2d8413988e28e59aa226eec>
    <MS_x0020_Content_x0020_Owner xmlns="01c77077-aee4-4b5f-bd4e-9cd40a6fff29">
      <UserInfo>
        <DisplayName/>
        <AccountId xsi:nil="true"/>
        <AccountType/>
      </UserInfo>
    </MS_x0020_Content_x0020_Owner>
    <Session_x0020_Code xmlns="01c77077-aee4-4b5f-bd4e-9cd40a6fff29">BRK1041</Session_x0020_Code>
    <Event_x0020_End_x0020_Date xmlns="01c77077-aee4-4b5f-bd4e-9cd40a6fff29">2016-09-30T07:00:00+00:00</Event_x0020_End_x0020_Date>
    <o1010385baed4da9b5076a6aa651d1e5 xmlns="01c77077-aee4-4b5f-bd4e-9cd40a6fff29">
      <Terms xmlns="http://schemas.microsoft.com/office/infopath/2007/PartnerControls"/>
    </o1010385baed4da9b5076a6aa651d1e5>
    <kc6d1bd9a46e4e5fbbbf99ca3de7a092 xmlns="01c77077-aee4-4b5f-bd4e-9cd40a6fff29">
      <Terms xmlns="http://schemas.microsoft.com/office/infopath/2007/PartnerControls"/>
    </kc6d1bd9a46e4e5fbbbf99ca3de7a092>
    <MS_x0020_Speaker xmlns="01c77077-aee4-4b5f-bd4e-9cd40a6fff29">
      <UserInfo>
        <DisplayName/>
        <AccountId xsi:nil="true"/>
        <AccountType/>
      </UserInfo>
    </MS_x0020_Speak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 2016</TermName>
          <TermId xmlns="http://schemas.microsoft.com/office/infopath/2007/PartnerControls">e2f6a88c-86f9-4b25-a2af-b5c3afa8c82a</TermId>
        </TermInfo>
      </Terms>
    </TaxKeywordTaxHTField>
    <TaxCatchAll xmlns="230e9df3-be65-4c73-a93b-d1236ebd677e">
      <Value>174</Value>
      <Value>177</Value>
      <Value>176</Value>
      <Value>175</Value>
    </TaxCatchAll>
    <NumberofDownloads xmlns="230e9df3-be65-4c73-a93b-d1236ebd677e" xsi:nil="true"/>
  </documentManagement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8F288A-5131-4E80-AB86-F10FC03738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1c77077-aee4-4b5f-bd4e-9cd40a6fff29"/>
    <ds:schemaRef ds:uri="230e9df3-be65-4c73-a93b-d1236ebd677e"/>
    <ds:schemaRef ds:uri="8ff673fc-3231-4e3a-893b-6d7f7cd327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2006/metadata/properties"/>
    <ds:schemaRef ds:uri="8ff673fc-3231-4e3a-893b-6d7f7cd32766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230e9df3-be65-4c73-a93b-d1236ebd677e"/>
    <ds:schemaRef ds:uri="01c77077-aee4-4b5f-bd4e-9cd40a6fff29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2016_16x9_Template_v02</Template>
  <TotalTime>0</TotalTime>
  <Words>1502</Words>
  <Application>Microsoft Office PowerPoint</Application>
  <PresentationFormat>Custom</PresentationFormat>
  <Paragraphs>219</Paragraphs>
  <Slides>28</Slides>
  <Notes>24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28</vt:i4>
      </vt:variant>
    </vt:vector>
  </HeadingPairs>
  <TitlesOfParts>
    <vt:vector size="50" baseType="lpstr">
      <vt:lpstr>ＭＳ Ｐゴシック</vt:lpstr>
      <vt:lpstr>Arial</vt:lpstr>
      <vt:lpstr>Arial Black</vt:lpstr>
      <vt:lpstr>Calibri</vt:lpstr>
      <vt:lpstr>Consolas</vt:lpstr>
      <vt:lpstr>Courier New</vt:lpstr>
      <vt:lpstr>Museo For Dell 300</vt:lpstr>
      <vt:lpstr>Museo Sans For Dell</vt:lpstr>
      <vt:lpstr>Museo Sans For Dell</vt:lpstr>
      <vt:lpstr>Segoe UI</vt:lpstr>
      <vt:lpstr>Segoe UI Light</vt:lpstr>
      <vt:lpstr>Times New Roman</vt:lpstr>
      <vt:lpstr>Trebuchet MS</vt:lpstr>
      <vt:lpstr>Verdana</vt:lpstr>
      <vt:lpstr>Wingdings</vt:lpstr>
      <vt:lpstr>5-50002_Ignite_Breakout_Template</vt:lpstr>
      <vt:lpstr>6-30537_Envision 2016 Concurrent Template_Dark</vt:lpstr>
      <vt:lpstr>1_5-50002_Ignite_Breakout_Template</vt:lpstr>
      <vt:lpstr>2_5-50002_Ignite_Breakout_Template</vt:lpstr>
      <vt:lpstr>7_Dell EMC Advantage - Revised Draft v2B</vt:lpstr>
      <vt:lpstr>1_6-30537_Envision 2016 Concurrent Template_Dark</vt:lpstr>
      <vt:lpstr>DellEMC template</vt:lpstr>
      <vt:lpstr> Let the transformation begin</vt:lpstr>
      <vt:lpstr>PowerPoint Presentation</vt:lpstr>
      <vt:lpstr>PowerPoint Presentation</vt:lpstr>
      <vt:lpstr>PowerPoint Presentation</vt:lpstr>
      <vt:lpstr>PowerPoint Presentation</vt:lpstr>
      <vt:lpstr>Delivering  cutting-edge innovation for customer results</vt:lpstr>
      <vt:lpstr> Microsoft Solutions</vt:lpstr>
      <vt:lpstr>PowerPoint Presentation</vt:lpstr>
      <vt:lpstr>PowerPoint Presentation</vt:lpstr>
      <vt:lpstr>PowerPoint Presentation</vt:lpstr>
      <vt:lpstr>PowerPoint Presentation</vt:lpstr>
      <vt:lpstr>Validated System for Microsoft Exchange</vt:lpstr>
      <vt:lpstr>PowerPoint Presentation</vt:lpstr>
      <vt:lpstr>Validated System for Microsoft SQL</vt:lpstr>
      <vt:lpstr>PowerPoint Presentation</vt:lpstr>
      <vt:lpstr>PowerPoint Presentation</vt:lpstr>
      <vt:lpstr>Dell EMC Hybrid Cloud System for Microsoft</vt:lpstr>
      <vt:lpstr>PowerPoint Presentation</vt:lpstr>
      <vt:lpstr>Rogers Communications</vt:lpstr>
      <vt:lpstr>Rogers Communication</vt:lpstr>
      <vt:lpstr>Our Journey to the Hybrid Cloud</vt:lpstr>
      <vt:lpstr>Virtual Desktop Infrastructure (VDI) Proof of Concept</vt:lpstr>
      <vt:lpstr>Recommendation: Consider Converged</vt:lpstr>
      <vt:lpstr>Selection: Citrix XenDesktop on Microsoft Cloud Platform System powered by Dell</vt:lpstr>
      <vt:lpstr>Rogers Experience</vt:lpstr>
      <vt:lpstr>Learn more….</vt:lpstr>
      <vt:lpstr>PowerPoint Presentation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 the scoop on Dell and EMC's cloud portfolio for Microsoft</dc:title>
  <dc:subject>&lt;Speech title here&gt;</dc:subject>
  <dc:creator>MS Events 0093</dc:creator>
  <cp:keywords>Microsoft 2016</cp:keywords>
  <dc:description>Template: Mitchell Derrey, Silverfox Productions_x000d_
Formatting: _x000d_
Audience Type:</dc:description>
  <cp:lastModifiedBy>MS Events 0093</cp:lastModifiedBy>
  <cp:revision>1</cp:revision>
  <dcterms:created xsi:type="dcterms:W3CDTF">2016-09-28T15:08:30Z</dcterms:created>
  <dcterms:modified xsi:type="dcterms:W3CDTF">2016-09-28T15:09:21Z</dcterms:modified>
  <cp:category>Microsoft 2016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DCF4CA090F824DB1E4CCBB6B9D64EA00101E8AAD132F8F4D96340D6376C8BB3E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7;#Georgia World Congress Center|ea0ece34-59a6-4d43-8d9e-d0f9e2a2f1ce</vt:lpwstr>
  </property>
  <property fmtid="{D5CDD505-2E9C-101B-9397-08002B2CF9AE}" pid="7" name="Track">
    <vt:lpwstr/>
  </property>
  <property fmtid="{D5CDD505-2E9C-101B-9397-08002B2CF9AE}" pid="8" name="Event Location">
    <vt:lpwstr>176;#Atlanta|01fb9831-5840-48a0-a576-3e48f42baa53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TaxKeyword">
    <vt:lpwstr>174;#Microsoft Ignite 2016|e2f6a88c-86f9-4b25-a2af-b5c3afa8c82a</vt:lpwstr>
  </property>
  <property fmtid="{D5CDD505-2E9C-101B-9397-08002B2CF9AE}" pid="12" name="Audience1">
    <vt:lpwstr/>
  </property>
  <property fmtid="{D5CDD505-2E9C-101B-9397-08002B2CF9AE}" pid="13" name="Event Name">
    <vt:lpwstr>175;#Microsoft Ignite|9323c522-fe4b-4922-816b-10a1920d7afb</vt:lpwstr>
  </property>
</Properties>
</file>